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1.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12.xml" ContentType="application/vnd.openxmlformats-officedocument.theme+xml"/>
  <Override PartName="/ppt/tags/tag12.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3.xml" ContentType="application/vnd.openxmlformats-officedocument.theme+xml"/>
  <Override PartName="/ppt/tags/tag13.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4.xml" ContentType="application/vnd.openxmlformats-officedocument.theme+xml"/>
  <Override PartName="/ppt/tags/tag14.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theme/themeOverride2.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 id="2147483746" r:id="rId2"/>
    <p:sldMasterId id="2147483755" r:id="rId3"/>
    <p:sldMasterId id="2147483764" r:id="rId4"/>
    <p:sldMasterId id="2147483773" r:id="rId5"/>
    <p:sldMasterId id="2147483782" r:id="rId6"/>
    <p:sldMasterId id="2147483791" r:id="rId7"/>
    <p:sldMasterId id="2147483813" r:id="rId8"/>
    <p:sldMasterId id="2147483851" r:id="rId9"/>
    <p:sldMasterId id="2147483861" r:id="rId10"/>
    <p:sldMasterId id="2147483871" r:id="rId11"/>
    <p:sldMasterId id="2147483880" r:id="rId12"/>
    <p:sldMasterId id="2147483890" r:id="rId13"/>
    <p:sldMasterId id="2147483900" r:id="rId14"/>
  </p:sldMasterIdLst>
  <p:notesMasterIdLst>
    <p:notesMasterId r:id="rId26"/>
  </p:notesMasterIdLst>
  <p:handoutMasterIdLst>
    <p:handoutMasterId r:id="rId27"/>
  </p:handoutMasterIdLst>
  <p:sldIdLst>
    <p:sldId id="499" r:id="rId15"/>
    <p:sldId id="526" r:id="rId16"/>
    <p:sldId id="500" r:id="rId17"/>
    <p:sldId id="521" r:id="rId18"/>
    <p:sldId id="530" r:id="rId19"/>
    <p:sldId id="509" r:id="rId20"/>
    <p:sldId id="527" r:id="rId21"/>
    <p:sldId id="508" r:id="rId22"/>
    <p:sldId id="513" r:id="rId23"/>
    <p:sldId id="531" r:id="rId24"/>
    <p:sldId id="529" r:id="rId25"/>
  </p:sldIdLst>
  <p:sldSz cx="9144000" cy="6858000" type="screen4x3"/>
  <p:notesSz cx="6797675" cy="9926638"/>
  <p:custDataLst>
    <p:tags r:id="rId28"/>
  </p:custDataLst>
  <p:defaultTex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p:defaultTextStyle>
  <p:extLst>
    <p:ext uri="{EFAFB233-063F-42B5-8137-9DF3F51BA10A}">
      <p15:sldGuideLst xmlns:p15="http://schemas.microsoft.com/office/powerpoint/2012/main">
        <p15:guide id="1" orient="horz" pos="1706" userDrawn="1">
          <p15:clr>
            <a:srgbClr val="A4A3A4"/>
          </p15:clr>
        </p15:guide>
        <p15:guide id="2" pos="2898">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F81BD"/>
    <a:srgbClr val="1F487D"/>
    <a:srgbClr val="33CCFF"/>
    <a:srgbClr val="009242"/>
    <a:srgbClr val="A0BCFE"/>
    <a:srgbClr val="D5E2FF"/>
    <a:srgbClr val="F99B0C"/>
    <a:srgbClr val="993300"/>
    <a:srgbClr val="D96608"/>
    <a:srgbClr val="61B6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188" autoAdjust="0"/>
    <p:restoredTop sz="96433" autoAdjust="0"/>
  </p:normalViewPr>
  <p:slideViewPr>
    <p:cSldViewPr snapToGrid="0">
      <p:cViewPr varScale="1">
        <p:scale>
          <a:sx n="71" d="100"/>
          <a:sy n="71" d="100"/>
        </p:scale>
        <p:origin x="1494" y="54"/>
      </p:cViewPr>
      <p:guideLst>
        <p:guide orient="horz" pos="1706"/>
        <p:guide pos="2898"/>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Grid="0">
      <p:cViewPr>
        <p:scale>
          <a:sx n="80" d="100"/>
          <a:sy n="80" d="100"/>
        </p:scale>
        <p:origin x="4014" y="-142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7.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tags" Target="tags/tag1.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______________Microsoft_Excel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package" Target="../embeddings/___________________Microsoft_Excel2.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___________________Microsoft_Excel3.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00206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rgbClr val="002060"/>
                    </a:solidFill>
                    <a:latin typeface="+mn-lt"/>
                    <a:ea typeface="+mn-ea"/>
                    <a:cs typeface="+mn-cs"/>
                  </a:defRPr>
                </a:pPr>
                <a:endParaRPr lang="el-GR"/>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2017</c:v>
                </c:pt>
                <c:pt idx="1">
                  <c:v>2022P</c:v>
                </c:pt>
              </c:strCache>
            </c:strRef>
          </c:cat>
          <c:val>
            <c:numRef>
              <c:f>Sheet1!$B$2:$B$3</c:f>
              <c:numCache>
                <c:formatCode>General</c:formatCode>
                <c:ptCount val="2"/>
                <c:pt idx="0">
                  <c:v>126</c:v>
                </c:pt>
                <c:pt idx="1">
                  <c:v>700</c:v>
                </c:pt>
              </c:numCache>
            </c:numRef>
          </c:val>
        </c:ser>
        <c:dLbls>
          <c:showLegendKey val="0"/>
          <c:showVal val="0"/>
          <c:showCatName val="0"/>
          <c:showSerName val="0"/>
          <c:showPercent val="0"/>
          <c:showBubbleSize val="0"/>
        </c:dLbls>
        <c:gapWidth val="219"/>
        <c:overlap val="-27"/>
        <c:axId val="284014872"/>
        <c:axId val="284018400"/>
      </c:barChart>
      <c:catAx>
        <c:axId val="284014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2060"/>
                </a:solidFill>
                <a:latin typeface="+mn-lt"/>
                <a:ea typeface="+mn-ea"/>
                <a:cs typeface="+mn-cs"/>
              </a:defRPr>
            </a:pPr>
            <a:endParaRPr lang="el-GR"/>
          </a:p>
        </c:txPr>
        <c:crossAx val="284018400"/>
        <c:crosses val="autoZero"/>
        <c:auto val="1"/>
        <c:lblAlgn val="ctr"/>
        <c:lblOffset val="100"/>
        <c:noMultiLvlLbl val="0"/>
      </c:catAx>
      <c:valAx>
        <c:axId val="2840184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002060"/>
                </a:solidFill>
                <a:latin typeface="+mn-lt"/>
                <a:ea typeface="+mn-ea"/>
                <a:cs typeface="+mn-cs"/>
              </a:defRPr>
            </a:pPr>
            <a:endParaRPr lang="el-GR"/>
          </a:p>
        </c:txPr>
        <c:crossAx val="28401487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rgbClr val="002060"/>
          </a:solidFill>
        </a:defRPr>
      </a:pPr>
      <a:endParaRPr lang="el-G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587037037037037E-2"/>
          <c:y val="5.024577991197457E-2"/>
          <c:w val="0.94825925925925925"/>
          <c:h val="0.78346311894683041"/>
        </c:manualLayout>
      </c:layout>
      <c:barChart>
        <c:barDir val="col"/>
        <c:grouping val="stacked"/>
        <c:varyColors val="0"/>
        <c:ser>
          <c:idx val="0"/>
          <c:order val="0"/>
          <c:tx>
            <c:strRef>
              <c:f>Sheet1!$B$1</c:f>
              <c:strCache>
                <c:ptCount val="1"/>
                <c:pt idx="0">
                  <c:v>BASE</c:v>
                </c:pt>
              </c:strCache>
            </c:strRef>
          </c:tx>
          <c:invertIfNegative val="0"/>
          <c:dPt>
            <c:idx val="1"/>
            <c:invertIfNegative val="0"/>
            <c:bubble3D val="0"/>
            <c:spPr>
              <a:noFill/>
            </c:spPr>
            <c:extLst xmlns:c16r2="http://schemas.microsoft.com/office/drawing/2015/06/chart">
              <c:ext xmlns:c16="http://schemas.microsoft.com/office/drawing/2014/chart" uri="{C3380CC4-5D6E-409C-BE32-E72D297353CC}">
                <c16:uniqueId val="{00000001-E569-41E0-9A8C-A0CA83489807}"/>
              </c:ext>
            </c:extLst>
          </c:dPt>
          <c:dPt>
            <c:idx val="2"/>
            <c:invertIfNegative val="0"/>
            <c:bubble3D val="0"/>
            <c:spPr>
              <a:solidFill>
                <a:srgbClr val="FFFFFF"/>
              </a:solidFill>
            </c:spPr>
            <c:extLst xmlns:c16r2="http://schemas.microsoft.com/office/drawing/2015/06/chart">
              <c:ext xmlns:c16="http://schemas.microsoft.com/office/drawing/2014/chart" uri="{C3380CC4-5D6E-409C-BE32-E72D297353CC}">
                <c16:uniqueId val="{00000003-E569-41E0-9A8C-A0CA83489807}"/>
              </c:ext>
            </c:extLst>
          </c:dPt>
          <c:dPt>
            <c:idx val="3"/>
            <c:invertIfNegative val="0"/>
            <c:bubble3D val="0"/>
            <c:spPr>
              <a:noFill/>
            </c:spPr>
            <c:extLst xmlns:c16r2="http://schemas.microsoft.com/office/drawing/2015/06/chart">
              <c:ext xmlns:c16="http://schemas.microsoft.com/office/drawing/2014/chart" uri="{C3380CC4-5D6E-409C-BE32-E72D297353CC}">
                <c16:uniqueId val="{00000005-E569-41E0-9A8C-A0CA83489807}"/>
              </c:ext>
            </c:extLst>
          </c:dPt>
          <c:dPt>
            <c:idx val="4"/>
            <c:invertIfNegative val="0"/>
            <c:bubble3D val="0"/>
            <c:spPr>
              <a:noFill/>
            </c:spPr>
            <c:extLst xmlns:c16r2="http://schemas.microsoft.com/office/drawing/2015/06/chart">
              <c:ext xmlns:c16="http://schemas.microsoft.com/office/drawing/2014/chart" uri="{C3380CC4-5D6E-409C-BE32-E72D297353CC}">
                <c16:uniqueId val="{00000007-E569-41E0-9A8C-A0CA83489807}"/>
              </c:ext>
            </c:extLst>
          </c:dPt>
          <c:dPt>
            <c:idx val="5"/>
            <c:invertIfNegative val="0"/>
            <c:bubble3D val="0"/>
            <c:spPr>
              <a:solidFill>
                <a:srgbClr val="002060"/>
              </a:solidFill>
            </c:spPr>
            <c:extLst xmlns:c16r2="http://schemas.microsoft.com/office/drawing/2015/06/chart">
              <c:ext xmlns:c16="http://schemas.microsoft.com/office/drawing/2014/chart" uri="{C3380CC4-5D6E-409C-BE32-E72D297353CC}">
                <c16:uniqueId val="{00000009-E569-41E0-9A8C-A0CA83489807}"/>
              </c:ext>
            </c:extLst>
          </c:dPt>
          <c:dLbls>
            <c:dLbl>
              <c:idx val="0"/>
              <c:layout>
                <c:manualLayout>
                  <c:x val="0"/>
                  <c:y val="-0.38104945367837445"/>
                </c:manualLayout>
              </c:layout>
              <c:showLegendKey val="0"/>
              <c:showVal val="1"/>
              <c:showCatName val="0"/>
              <c:showSerName val="0"/>
              <c:showPercent val="0"/>
              <c:showBubbleSize val="0"/>
              <c:separator>, </c:separator>
              <c:extLst xmlns:c16r2="http://schemas.microsoft.com/office/drawing/2015/06/chart">
                <c:ext xmlns:c16="http://schemas.microsoft.com/office/drawing/2014/chart" uri="{C3380CC4-5D6E-409C-BE32-E72D297353CC}">
                  <c16:uniqueId val="{0000000A-E569-41E0-9A8C-A0CA83489807}"/>
                </c:ext>
                <c:ext xmlns:c15="http://schemas.microsoft.com/office/drawing/2012/chart" uri="{CE6537A1-D6FC-4f65-9D91-7224C49458BB}">
                  <c15:layout/>
                </c:ext>
              </c:extLst>
            </c:dLbl>
            <c:dLbl>
              <c:idx val="1"/>
              <c:delete val="1"/>
              <c:extLst xmlns:c16r2="http://schemas.microsoft.com/office/drawing/2015/06/chart">
                <c:ext xmlns:c16="http://schemas.microsoft.com/office/drawing/2014/chart" uri="{C3380CC4-5D6E-409C-BE32-E72D297353CC}">
                  <c16:uniqueId val="{00000001-E569-41E0-9A8C-A0CA83489807}"/>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3-E569-41E0-9A8C-A0CA83489807}"/>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5-E569-41E0-9A8C-A0CA83489807}"/>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7-E569-41E0-9A8C-A0CA83489807}"/>
                </c:ext>
                <c:ext xmlns:c15="http://schemas.microsoft.com/office/drawing/2012/chart" uri="{CE6537A1-D6FC-4f65-9D91-7224C49458BB}"/>
              </c:extLst>
            </c:dLbl>
            <c:dLbl>
              <c:idx val="5"/>
              <c:layout>
                <c:manualLayout>
                  <c:x val="-1.6949668293656875E-3"/>
                  <c:y val="-0.22410932535225714"/>
                </c:manualLayout>
              </c:layout>
              <c:showLegendKey val="0"/>
              <c:showVal val="1"/>
              <c:showCatName val="0"/>
              <c:showSerName val="0"/>
              <c:showPercent val="0"/>
              <c:showBubbleSize val="0"/>
              <c:separator>, </c:separator>
              <c:extLst>
                <c:ext xmlns:c15="http://schemas.microsoft.com/office/drawing/2012/chart" uri="{CE6537A1-D6FC-4f65-9D91-7224C49458BB}">
                  <c15:layout/>
                </c:ext>
              </c:extLst>
            </c:dLbl>
            <c:numFmt formatCode="#,##0" sourceLinked="0"/>
            <c:spPr>
              <a:noFill/>
              <a:ln>
                <a:noFill/>
              </a:ln>
              <a:effectLst/>
            </c:spPr>
            <c:txPr>
              <a:bodyPr/>
              <a:lstStyle/>
              <a:p>
                <a:pPr>
                  <a:defRPr sz="1200"/>
                </a:pPr>
                <a:endParaRPr lang="el-GR"/>
              </a:p>
            </c:txPr>
            <c:showLegendKey val="0"/>
            <c:showVal val="1"/>
            <c:showCatName val="0"/>
            <c:showSerName val="0"/>
            <c:showPercent val="0"/>
            <c:showBubbleSize val="0"/>
            <c:separator>, </c:separator>
            <c:showLeaderLines val="0"/>
            <c:extLst xmlns:c16r2="http://schemas.microsoft.com/office/drawing/2015/06/chart">
              <c:ext xmlns:c15="http://schemas.microsoft.com/office/drawing/2012/chart" uri="{CE6537A1-D6FC-4f65-9D91-7224C49458BB}">
                <c15:showLeaderLines val="0"/>
              </c:ext>
            </c:extLst>
          </c:dLbls>
          <c:cat>
            <c:strRef>
              <c:f>Sheet1!$A$2:$A$7</c:f>
              <c:strCache>
                <c:ptCount val="6"/>
                <c:pt idx="0">
                  <c:v>2016</c:v>
                </c:pt>
                <c:pt idx="1">
                  <c:v>Divestment of Megalopoli III &amp; IV and Meliti I</c:v>
                </c:pt>
                <c:pt idx="2">
                  <c:v>Decommissioning of Kardia I to IV</c:v>
                </c:pt>
                <c:pt idx="3">
                  <c:v>Decommissioning of Aminteo Ι &amp; II</c:v>
                </c:pt>
                <c:pt idx="4">
                  <c:v>Commissioning of Ptolemaida V</c:v>
                </c:pt>
                <c:pt idx="5">
                  <c:v>2022P</c:v>
                </c:pt>
              </c:strCache>
            </c:strRef>
          </c:cat>
          <c:val>
            <c:numRef>
              <c:f>Sheet1!$B$2:$B$7</c:f>
              <c:numCache>
                <c:formatCode>#,##0</c:formatCode>
                <c:ptCount val="6"/>
                <c:pt idx="0">
                  <c:v>4337</c:v>
                </c:pt>
                <c:pt idx="1">
                  <c:v>3407</c:v>
                </c:pt>
                <c:pt idx="2">
                  <c:v>2195</c:v>
                </c:pt>
                <c:pt idx="3">
                  <c:v>1595</c:v>
                </c:pt>
                <c:pt idx="4">
                  <c:v>1595</c:v>
                </c:pt>
                <c:pt idx="5">
                  <c:v>2255</c:v>
                </c:pt>
              </c:numCache>
            </c:numRef>
          </c:val>
          <c:extLst xmlns:c16r2="http://schemas.microsoft.com/office/drawing/2015/06/chart">
            <c:ext xmlns:c16="http://schemas.microsoft.com/office/drawing/2014/chart" uri="{C3380CC4-5D6E-409C-BE32-E72D297353CC}">
              <c16:uniqueId val="{0000000B-E569-41E0-9A8C-A0CA83489807}"/>
            </c:ext>
          </c:extLst>
        </c:ser>
        <c:ser>
          <c:idx val="1"/>
          <c:order val="1"/>
          <c:tx>
            <c:strRef>
              <c:f>Sheet1!$C$1</c:f>
              <c:strCache>
                <c:ptCount val="1"/>
                <c:pt idx="0">
                  <c:v>ADD/RED</c:v>
                </c:pt>
              </c:strCache>
            </c:strRef>
          </c:tx>
          <c:spPr>
            <a:solidFill>
              <a:srgbClr val="92D050"/>
            </a:solidFill>
          </c:spPr>
          <c:invertIfNegative val="0"/>
          <c:dPt>
            <c:idx val="1"/>
            <c:invertIfNegative val="0"/>
            <c:bubble3D val="0"/>
          </c:dPt>
          <c:dPt>
            <c:idx val="2"/>
            <c:invertIfNegative val="0"/>
            <c:bubble3D val="0"/>
            <c:extLst xmlns:c16r2="http://schemas.microsoft.com/office/drawing/2015/06/chart">
              <c:ext xmlns:c16="http://schemas.microsoft.com/office/drawing/2014/chart" uri="{C3380CC4-5D6E-409C-BE32-E72D297353CC}">
                <c16:uniqueId val="{0000000C-E569-41E0-9A8C-A0CA83489807}"/>
              </c:ext>
            </c:extLst>
          </c:dPt>
          <c:dPt>
            <c:idx val="3"/>
            <c:invertIfNegative val="0"/>
            <c:bubble3D val="0"/>
            <c:extLst xmlns:c16r2="http://schemas.microsoft.com/office/drawing/2015/06/chart">
              <c:ext xmlns:c16="http://schemas.microsoft.com/office/drawing/2014/chart" uri="{C3380CC4-5D6E-409C-BE32-E72D297353CC}">
                <c16:uniqueId val="{0000000E-E569-41E0-9A8C-A0CA83489807}"/>
              </c:ext>
            </c:extLst>
          </c:dPt>
          <c:dPt>
            <c:idx val="4"/>
            <c:invertIfNegative val="0"/>
            <c:bubble3D val="0"/>
            <c:spPr>
              <a:solidFill>
                <a:srgbClr val="0070C0"/>
              </a:solidFill>
              <a:ln>
                <a:noFill/>
              </a:ln>
            </c:spPr>
          </c:dPt>
          <c:dLbls>
            <c:dLbl>
              <c:idx val="1"/>
              <c:layout>
                <c:manualLayout>
                  <c:x val="1.0380670865201825E-3"/>
                  <c:y val="-0.10443546030092266"/>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E569-41E0-9A8C-A0CA83489807}"/>
                </c:ext>
                <c:ext xmlns:c15="http://schemas.microsoft.com/office/drawing/2012/chart" uri="{CE6537A1-D6FC-4f65-9D91-7224C49458BB}">
                  <c15:layout/>
                </c:ext>
              </c:extLst>
            </c:dLbl>
            <c:dLbl>
              <c:idx val="2"/>
              <c:layout>
                <c:manualLayout>
                  <c:x val="-1.6949668293657495E-3"/>
                  <c:y val="-0.14109733425339721"/>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E569-41E0-9A8C-A0CA83489807}"/>
                </c:ext>
                <c:ext xmlns:c15="http://schemas.microsoft.com/office/drawing/2012/chart" uri="{CE6537A1-D6FC-4f65-9D91-7224C49458BB}">
                  <c15:layout/>
                </c:ext>
              </c:extLst>
            </c:dLbl>
            <c:dLbl>
              <c:idx val="3"/>
              <c:layout>
                <c:manualLayout>
                  <c:x val="0"/>
                  <c:y val="-9.5607479281100305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E569-41E0-9A8C-A0CA83489807}"/>
                </c:ext>
                <c:ext xmlns:c15="http://schemas.microsoft.com/office/drawing/2012/chart" uri="{CE6537A1-D6FC-4f65-9D91-7224C49458BB}">
                  <c15:layout/>
                </c:ext>
              </c:extLst>
            </c:dLbl>
            <c:dLbl>
              <c:idx val="4"/>
              <c:layout>
                <c:manualLayout>
                  <c:x val="-1.1782852773141346E-16"/>
                  <c:y val="-9.8040302952107139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E569-41E0-9A8C-A0CA83489807}"/>
                </c:ext>
                <c:ext xmlns:c15="http://schemas.microsoft.com/office/drawing/2012/chart" uri="{CE6537A1-D6FC-4f65-9D91-7224C49458BB}">
                  <c15:layout/>
                </c:ext>
              </c:extLst>
            </c:dLbl>
            <c:dLbl>
              <c:idx val="5"/>
              <c:layout>
                <c:manualLayout>
                  <c:x val="-8.6233571723655416E-17"/>
                  <c:y val="-0.11462044294694197"/>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E569-41E0-9A8C-A0CA83489807}"/>
                </c:ext>
                <c:ext xmlns:c15="http://schemas.microsoft.com/office/drawing/2012/chart" uri="{CE6537A1-D6FC-4f65-9D91-7224C49458BB}"/>
              </c:extLst>
            </c:dLbl>
            <c:numFmt formatCode="#,##0" sourceLinked="0"/>
            <c:spPr>
              <a:noFill/>
              <a:ln>
                <a:noFill/>
              </a:ln>
              <a:effectLst/>
            </c:spPr>
            <c:txPr>
              <a:bodyPr/>
              <a:lstStyle/>
              <a:p>
                <a:pPr>
                  <a:defRPr sz="1200"/>
                </a:pPr>
                <a:endParaRPr lang="el-GR"/>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7</c:f>
              <c:strCache>
                <c:ptCount val="6"/>
                <c:pt idx="0">
                  <c:v>2016</c:v>
                </c:pt>
                <c:pt idx="1">
                  <c:v>Divestment of Megalopoli III &amp; IV and Meliti I</c:v>
                </c:pt>
                <c:pt idx="2">
                  <c:v>Decommissioning of Kardia I to IV</c:v>
                </c:pt>
                <c:pt idx="3">
                  <c:v>Decommissioning of Aminteo Ι &amp; II</c:v>
                </c:pt>
                <c:pt idx="4">
                  <c:v>Commissioning of Ptolemaida V</c:v>
                </c:pt>
                <c:pt idx="5">
                  <c:v>2022P</c:v>
                </c:pt>
              </c:strCache>
            </c:strRef>
          </c:cat>
          <c:val>
            <c:numRef>
              <c:f>Sheet1!$C$2:$C$7</c:f>
              <c:numCache>
                <c:formatCode>#,##0</c:formatCode>
                <c:ptCount val="6"/>
                <c:pt idx="1">
                  <c:v>930</c:v>
                </c:pt>
                <c:pt idx="2">
                  <c:v>1212</c:v>
                </c:pt>
                <c:pt idx="3">
                  <c:v>600</c:v>
                </c:pt>
                <c:pt idx="4">
                  <c:v>660</c:v>
                </c:pt>
              </c:numCache>
            </c:numRef>
          </c:val>
          <c:extLst xmlns:c16r2="http://schemas.microsoft.com/office/drawing/2015/06/chart">
            <c:ext xmlns:c16="http://schemas.microsoft.com/office/drawing/2014/chart" uri="{C3380CC4-5D6E-409C-BE32-E72D297353CC}">
              <c16:uniqueId val="{00000012-E569-41E0-9A8C-A0CA83489807}"/>
            </c:ext>
          </c:extLst>
        </c:ser>
        <c:dLbls>
          <c:showLegendKey val="0"/>
          <c:showVal val="0"/>
          <c:showCatName val="0"/>
          <c:showSerName val="0"/>
          <c:showPercent val="0"/>
          <c:showBubbleSize val="0"/>
        </c:dLbls>
        <c:gapWidth val="150"/>
        <c:overlap val="100"/>
        <c:axId val="284012520"/>
        <c:axId val="284012912"/>
      </c:barChart>
      <c:catAx>
        <c:axId val="284012520"/>
        <c:scaling>
          <c:orientation val="minMax"/>
        </c:scaling>
        <c:delete val="0"/>
        <c:axPos val="b"/>
        <c:numFmt formatCode="General" sourceLinked="0"/>
        <c:majorTickMark val="none"/>
        <c:minorTickMark val="none"/>
        <c:tickLblPos val="nextTo"/>
        <c:txPr>
          <a:bodyPr rot="0" vert="horz"/>
          <a:lstStyle/>
          <a:p>
            <a:pPr>
              <a:defRPr sz="1000" b="0"/>
            </a:pPr>
            <a:endParaRPr lang="el-GR"/>
          </a:p>
        </c:txPr>
        <c:crossAx val="284012912"/>
        <c:crosses val="autoZero"/>
        <c:auto val="1"/>
        <c:lblAlgn val="ctr"/>
        <c:lblOffset val="100"/>
        <c:tickLblSkip val="1"/>
        <c:noMultiLvlLbl val="0"/>
      </c:catAx>
      <c:valAx>
        <c:axId val="284012912"/>
        <c:scaling>
          <c:orientation val="minMax"/>
        </c:scaling>
        <c:delete val="1"/>
        <c:axPos val="l"/>
        <c:numFmt formatCode="#,##0" sourceLinked="1"/>
        <c:majorTickMark val="out"/>
        <c:minorTickMark val="none"/>
        <c:tickLblPos val="nextTo"/>
        <c:crossAx val="284012520"/>
        <c:crosses val="autoZero"/>
        <c:crossBetween val="between"/>
      </c:valAx>
    </c:plotArea>
    <c:plotVisOnly val="1"/>
    <c:dispBlanksAs val="gap"/>
    <c:showDLblsOverMax val="0"/>
  </c:chart>
  <c:txPr>
    <a:bodyPr/>
    <a:lstStyle/>
    <a:p>
      <a:pPr>
        <a:defRPr sz="1800"/>
      </a:pPr>
      <a:endParaRPr lang="el-GR"/>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l-G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5066966426219729E-2"/>
          <c:y val="3.5627807387182103E-2"/>
          <c:w val="0.81239441822140313"/>
          <c:h val="0.77487638463235264"/>
        </c:manualLayout>
      </c:layout>
      <c:barChart>
        <c:barDir val="col"/>
        <c:grouping val="clustered"/>
        <c:varyColors val="0"/>
        <c:ser>
          <c:idx val="0"/>
          <c:order val="0"/>
          <c:tx>
            <c:v>PPC's Net Electricity production (TWh)</c:v>
          </c:tx>
          <c:spPr>
            <a:solidFill>
              <a:srgbClr val="A0BCFE"/>
            </a:solidFill>
          </c:spPr>
          <c:invertIfNegative val="0"/>
          <c:dLbls>
            <c:dLbl>
              <c:idx val="0"/>
              <c:spPr/>
              <c:txPr>
                <a:bodyPr rot="-5400000" vert="horz"/>
                <a:lstStyle/>
                <a:p>
                  <a:pPr>
                    <a:defRPr/>
                  </a:pPr>
                  <a:endParaRPr lang="el-GR"/>
                </a:p>
              </c:txPr>
              <c:dLblPos val="ctr"/>
              <c:showLegendKey val="0"/>
              <c:showVal val="1"/>
              <c:showCatName val="0"/>
              <c:showSerName val="0"/>
              <c:showPercent val="0"/>
              <c:showBubbleSize val="0"/>
            </c:dLbl>
            <c:dLbl>
              <c:idx val="1"/>
              <c:spPr/>
              <c:txPr>
                <a:bodyPr rot="-5400000" vert="horz"/>
                <a:lstStyle/>
                <a:p>
                  <a:pPr>
                    <a:defRPr/>
                  </a:pPr>
                  <a:endParaRPr lang="el-GR"/>
                </a:p>
              </c:txPr>
              <c:dLblPos val="ctr"/>
              <c:showLegendKey val="0"/>
              <c:showVal val="1"/>
              <c:showCatName val="0"/>
              <c:showSerName val="0"/>
              <c:showPercent val="0"/>
              <c:showBubbleSize val="0"/>
            </c:dLbl>
            <c:dLbl>
              <c:idx val="2"/>
              <c:spPr/>
              <c:txPr>
                <a:bodyPr rot="-5400000" vert="horz"/>
                <a:lstStyle/>
                <a:p>
                  <a:pPr>
                    <a:defRPr/>
                  </a:pPr>
                  <a:endParaRPr lang="el-GR"/>
                </a:p>
              </c:txPr>
              <c:dLblPos val="ctr"/>
              <c:showLegendKey val="0"/>
              <c:showVal val="1"/>
              <c:showCatName val="0"/>
              <c:showSerName val="0"/>
              <c:showPercent val="0"/>
              <c:showBubbleSize val="0"/>
            </c:dLbl>
            <c:dLbl>
              <c:idx val="3"/>
              <c:spPr/>
              <c:txPr>
                <a:bodyPr rot="-5400000" vert="horz"/>
                <a:lstStyle/>
                <a:p>
                  <a:pPr>
                    <a:defRPr/>
                  </a:pPr>
                  <a:endParaRPr lang="el-GR"/>
                </a:p>
              </c:txPr>
              <c:dLblPos val="ctr"/>
              <c:showLegendKey val="0"/>
              <c:showVal val="1"/>
              <c:showCatName val="0"/>
              <c:showSerName val="0"/>
              <c:showPercent val="0"/>
              <c:showBubbleSize val="0"/>
            </c:dLbl>
            <c:dLbl>
              <c:idx val="4"/>
              <c:spPr/>
              <c:txPr>
                <a:bodyPr rot="-5400000" vert="horz"/>
                <a:lstStyle/>
                <a:p>
                  <a:pPr>
                    <a:defRPr/>
                  </a:pPr>
                  <a:endParaRPr lang="el-GR"/>
                </a:p>
              </c:txPr>
              <c:dLblPos val="ctr"/>
              <c:showLegendKey val="0"/>
              <c:showVal val="1"/>
              <c:showCatName val="0"/>
              <c:showSerName val="0"/>
              <c:showPercent val="0"/>
              <c:showBubbleSize val="0"/>
            </c:dLbl>
            <c:dLbl>
              <c:idx val="5"/>
              <c:spPr/>
              <c:txPr>
                <a:bodyPr rot="-5400000" vert="horz"/>
                <a:lstStyle/>
                <a:p>
                  <a:pPr>
                    <a:defRPr/>
                  </a:pPr>
                  <a:endParaRPr lang="el-GR"/>
                </a:p>
              </c:txPr>
              <c:dLblPos val="ctr"/>
              <c:showLegendKey val="0"/>
              <c:showVal val="1"/>
              <c:showCatName val="0"/>
              <c:showSerName val="0"/>
              <c:showPercent val="0"/>
              <c:showBubbleSize val="0"/>
            </c:dLbl>
            <c:spPr>
              <a:noFill/>
              <a:ln>
                <a:noFill/>
              </a:ln>
              <a:effectLst/>
            </c:sp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Συντελεστής CO2 ΔΕΗ'!$B$20:$G$20</c:f>
              <c:strCache>
                <c:ptCount val="6"/>
                <c:pt idx="0">
                  <c:v>2017(A)</c:v>
                </c:pt>
                <c:pt idx="1">
                  <c:v>2018(E)</c:v>
                </c:pt>
                <c:pt idx="2">
                  <c:v>2019(E)</c:v>
                </c:pt>
                <c:pt idx="3">
                  <c:v>2020(E)</c:v>
                </c:pt>
                <c:pt idx="4">
                  <c:v>2021(E)</c:v>
                </c:pt>
                <c:pt idx="5">
                  <c:v>2022(E)</c:v>
                </c:pt>
              </c:strCache>
            </c:strRef>
          </c:cat>
          <c:val>
            <c:numRef>
              <c:f>'Συντελεστής CO2 ΔΕΗ'!$B$8:$G$8</c:f>
              <c:numCache>
                <c:formatCode>0.0</c:formatCode>
                <c:ptCount val="6"/>
                <c:pt idx="0" formatCode="General">
                  <c:v>32.6</c:v>
                </c:pt>
                <c:pt idx="1">
                  <c:v>30.891186405334746</c:v>
                </c:pt>
                <c:pt idx="2">
                  <c:v>28.170159989999991</c:v>
                </c:pt>
                <c:pt idx="3">
                  <c:v>25.733397149999998</c:v>
                </c:pt>
                <c:pt idx="4">
                  <c:v>24.6657376</c:v>
                </c:pt>
                <c:pt idx="5">
                  <c:v>27.37410161</c:v>
                </c:pt>
              </c:numCache>
            </c:numRef>
          </c:val>
          <c:extLst xmlns:c16r2="http://schemas.microsoft.com/office/drawing/2015/06/chart">
            <c:ext xmlns:c16="http://schemas.microsoft.com/office/drawing/2014/chart" uri="{C3380CC4-5D6E-409C-BE32-E72D297353CC}">
              <c16:uniqueId val="{00000006-68E7-4E53-99A5-02E0348977BA}"/>
            </c:ext>
          </c:extLst>
        </c:ser>
        <c:ser>
          <c:idx val="1"/>
          <c:order val="1"/>
          <c:tx>
            <c:v>PPC's CO2 Emissions (Μtn)</c:v>
          </c:tx>
          <c:spPr>
            <a:solidFill>
              <a:srgbClr val="D5E2FF"/>
            </a:solidFill>
          </c:spPr>
          <c:invertIfNegative val="0"/>
          <c:dLbls>
            <c:spPr>
              <a:noFill/>
              <a:ln>
                <a:noFill/>
              </a:ln>
              <a:effectLst/>
            </c:spPr>
            <c:txPr>
              <a:bodyPr rot="-5400000" vert="horz"/>
              <a:lstStyle/>
              <a:p>
                <a:pPr>
                  <a:defRPr/>
                </a:pPr>
                <a:endParaRPr lang="el-GR"/>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Συντελεστής CO2 ΔΕΗ'!$B$20:$G$20</c:f>
              <c:strCache>
                <c:ptCount val="6"/>
                <c:pt idx="0">
                  <c:v>2017(A)</c:v>
                </c:pt>
                <c:pt idx="1">
                  <c:v>2018(E)</c:v>
                </c:pt>
                <c:pt idx="2">
                  <c:v>2019(E)</c:v>
                </c:pt>
                <c:pt idx="3">
                  <c:v>2020(E)</c:v>
                </c:pt>
                <c:pt idx="4">
                  <c:v>2021(E)</c:v>
                </c:pt>
                <c:pt idx="5">
                  <c:v>2022(E)</c:v>
                </c:pt>
              </c:strCache>
            </c:strRef>
          </c:cat>
          <c:val>
            <c:numRef>
              <c:f>'Συντελεστής CO2 ΔΕΗ'!$B$16:$G$16</c:f>
              <c:numCache>
                <c:formatCode>_-* #,##0.0\ _€_-;\-* #,##0.0\ _€_-;_-* "-"??\ _€_-;_-@_-</c:formatCode>
                <c:ptCount val="6"/>
                <c:pt idx="0" formatCode="General">
                  <c:v>31.7</c:v>
                </c:pt>
                <c:pt idx="1">
                  <c:v>29.666164043432723</c:v>
                </c:pt>
                <c:pt idx="2">
                  <c:v>24.911570001560001</c:v>
                </c:pt>
                <c:pt idx="3">
                  <c:v>20.358665169560002</c:v>
                </c:pt>
                <c:pt idx="4">
                  <c:v>16.881853811559999</c:v>
                </c:pt>
                <c:pt idx="5">
                  <c:v>18.315210173559993</c:v>
                </c:pt>
              </c:numCache>
            </c:numRef>
          </c:val>
          <c:extLst xmlns:c16r2="http://schemas.microsoft.com/office/drawing/2015/06/chart">
            <c:ext xmlns:c16="http://schemas.microsoft.com/office/drawing/2014/chart" uri="{C3380CC4-5D6E-409C-BE32-E72D297353CC}">
              <c16:uniqueId val="{00000007-68E7-4E53-99A5-02E0348977BA}"/>
            </c:ext>
          </c:extLst>
        </c:ser>
        <c:dLbls>
          <c:showLegendKey val="0"/>
          <c:showVal val="0"/>
          <c:showCatName val="0"/>
          <c:showSerName val="0"/>
          <c:showPercent val="0"/>
          <c:showBubbleSize val="0"/>
        </c:dLbls>
        <c:gapWidth val="150"/>
        <c:axId val="270572776"/>
        <c:axId val="322872792"/>
      </c:barChart>
      <c:lineChart>
        <c:grouping val="standard"/>
        <c:varyColors val="0"/>
        <c:ser>
          <c:idx val="2"/>
          <c:order val="2"/>
          <c:tx>
            <c:v>PPC's CO2 Emission Factor (tn/MWh)</c:v>
          </c:tx>
          <c:spPr>
            <a:ln>
              <a:solidFill>
                <a:srgbClr val="002060"/>
              </a:solidFill>
            </a:ln>
          </c:spPr>
          <c:marker>
            <c:spPr>
              <a:ln>
                <a:solidFill>
                  <a:srgbClr val="A0BCFE"/>
                </a:solidFill>
              </a:ln>
            </c:spPr>
          </c:marker>
          <c:dLbls>
            <c:dLbl>
              <c:idx val="0"/>
              <c:layout>
                <c:manualLayout>
                  <c:x val="0"/>
                  <c:y val="-1.178782016520119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
                  <c:y val="-5.893910082600597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5.8572273314852362E-17"/>
                  <c:y val="-1.768173024780180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1.178782016520119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6.3897763578275929E-3"/>
                  <c:y val="-2.946955041300301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6.3897763578274758E-3"/>
                  <c:y val="-8.8408651239008963E-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Συντελεστής CO2 ΔΕΗ'!$C$20:$H$20</c:f>
              <c:strCache>
                <c:ptCount val="6"/>
                <c:pt idx="0">
                  <c:v>2018(E)</c:v>
                </c:pt>
                <c:pt idx="1">
                  <c:v>2019(E)</c:v>
                </c:pt>
                <c:pt idx="2">
                  <c:v>2020(E)</c:v>
                </c:pt>
                <c:pt idx="3">
                  <c:v>2021(E)</c:v>
                </c:pt>
                <c:pt idx="4">
                  <c:v>2022(E)</c:v>
                </c:pt>
                <c:pt idx="5">
                  <c:v>2023(E)</c:v>
                </c:pt>
              </c:strCache>
            </c:strRef>
          </c:cat>
          <c:val>
            <c:numRef>
              <c:f>'Συντελεστής CO2 ΔΕΗ'!$B$23:$G$23</c:f>
              <c:numCache>
                <c:formatCode>_-* #,##0.000\ _€_-;\-* #,##0.000\ _€_-;_-* "-"??\ _€_-;_-@_-</c:formatCode>
                <c:ptCount val="6"/>
                <c:pt idx="0">
                  <c:v>0.97239263803680975</c:v>
                </c:pt>
                <c:pt idx="1">
                  <c:v>0.9603439522902083</c:v>
                </c:pt>
                <c:pt idx="2">
                  <c:v>0.88432476103803659</c:v>
                </c:pt>
                <c:pt idx="3">
                  <c:v>0.79113787623489129</c:v>
                </c:pt>
                <c:pt idx="4">
                  <c:v>0.68442525763186579</c:v>
                </c:pt>
                <c:pt idx="5">
                  <c:v>0.66907073095941472</c:v>
                </c:pt>
              </c:numCache>
            </c:numRef>
          </c:val>
          <c:smooth val="0"/>
          <c:extLst xmlns:c16r2="http://schemas.microsoft.com/office/drawing/2015/06/chart">
            <c:ext xmlns:c16="http://schemas.microsoft.com/office/drawing/2014/chart" uri="{C3380CC4-5D6E-409C-BE32-E72D297353CC}">
              <c16:uniqueId val="{00000008-68E7-4E53-99A5-02E0348977BA}"/>
            </c:ext>
          </c:extLst>
        </c:ser>
        <c:dLbls>
          <c:showLegendKey val="0"/>
          <c:showVal val="0"/>
          <c:showCatName val="0"/>
          <c:showSerName val="0"/>
          <c:showPercent val="0"/>
          <c:showBubbleSize val="0"/>
        </c:dLbls>
        <c:marker val="1"/>
        <c:smooth val="0"/>
        <c:axId val="322870440"/>
        <c:axId val="322867696"/>
      </c:lineChart>
      <c:catAx>
        <c:axId val="270572776"/>
        <c:scaling>
          <c:orientation val="minMax"/>
        </c:scaling>
        <c:delete val="0"/>
        <c:axPos val="b"/>
        <c:numFmt formatCode="General" sourceLinked="1"/>
        <c:majorTickMark val="out"/>
        <c:minorTickMark val="none"/>
        <c:tickLblPos val="nextTo"/>
        <c:crossAx val="322872792"/>
        <c:crosses val="autoZero"/>
        <c:auto val="1"/>
        <c:lblAlgn val="ctr"/>
        <c:lblOffset val="100"/>
        <c:noMultiLvlLbl val="0"/>
      </c:catAx>
      <c:valAx>
        <c:axId val="322872792"/>
        <c:scaling>
          <c:orientation val="minMax"/>
        </c:scaling>
        <c:delete val="0"/>
        <c:axPos val="l"/>
        <c:majorGridlines/>
        <c:title>
          <c:tx>
            <c:rich>
              <a:bodyPr rot="-5400000" vert="horz"/>
              <a:lstStyle/>
              <a:p>
                <a:pPr>
                  <a:defRPr/>
                </a:pPr>
                <a:r>
                  <a:rPr lang="en-US"/>
                  <a:t>PPC's Net Electricity Production &amp; CO2 Emissions</a:t>
                </a:r>
              </a:p>
            </c:rich>
          </c:tx>
          <c:layout/>
          <c:overlay val="0"/>
        </c:title>
        <c:numFmt formatCode="General" sourceLinked="1"/>
        <c:majorTickMark val="out"/>
        <c:minorTickMark val="none"/>
        <c:tickLblPos val="nextTo"/>
        <c:crossAx val="270572776"/>
        <c:crosses val="autoZero"/>
        <c:crossBetween val="between"/>
      </c:valAx>
      <c:valAx>
        <c:axId val="322867696"/>
        <c:scaling>
          <c:orientation val="minMax"/>
          <c:max val="1"/>
        </c:scaling>
        <c:delete val="0"/>
        <c:axPos val="r"/>
        <c:title>
          <c:tx>
            <c:rich>
              <a:bodyPr rot="-5400000" vert="horz"/>
              <a:lstStyle/>
              <a:p>
                <a:pPr>
                  <a:defRPr/>
                </a:pPr>
                <a:r>
                  <a:rPr lang="en-US"/>
                  <a:t>PPC's CO2 Emission Factor</a:t>
                </a:r>
              </a:p>
            </c:rich>
          </c:tx>
          <c:layout/>
          <c:overlay val="0"/>
        </c:title>
        <c:numFmt formatCode="#,##0.0" sourceLinked="0"/>
        <c:majorTickMark val="out"/>
        <c:minorTickMark val="none"/>
        <c:tickLblPos val="nextTo"/>
        <c:crossAx val="322870440"/>
        <c:crosses val="max"/>
        <c:crossBetween val="between"/>
      </c:valAx>
      <c:catAx>
        <c:axId val="322870440"/>
        <c:scaling>
          <c:orientation val="minMax"/>
        </c:scaling>
        <c:delete val="1"/>
        <c:axPos val="b"/>
        <c:numFmt formatCode="General" sourceLinked="1"/>
        <c:majorTickMark val="out"/>
        <c:minorTickMark val="none"/>
        <c:tickLblPos val="nextTo"/>
        <c:crossAx val="322867696"/>
        <c:crosses val="autoZero"/>
        <c:auto val="1"/>
        <c:lblAlgn val="ctr"/>
        <c:lblOffset val="100"/>
        <c:noMultiLvlLbl val="0"/>
      </c:catAx>
    </c:plotArea>
    <c:legend>
      <c:legendPos val="b"/>
      <c:layout/>
      <c:overlay val="0"/>
    </c:legend>
    <c:plotVisOnly val="1"/>
    <c:dispBlanksAs val="gap"/>
    <c:showDLblsOverMax val="0"/>
  </c:chart>
  <c:txPr>
    <a:bodyPr/>
    <a:lstStyle/>
    <a:p>
      <a:pPr>
        <a:defRPr>
          <a:solidFill>
            <a:srgbClr val="002060"/>
          </a:solidFill>
        </a:defRPr>
      </a:pPr>
      <a:endParaRPr lang="el-GR"/>
    </a:p>
  </c:txPr>
  <c:externalData r:id="rId2">
    <c:autoUpdate val="0"/>
  </c:externalData>
</c:chartSpace>
</file>

<file path=ppt/charts/colors1.xml><?xml version="1.0" encoding="utf-8"?>
<cs:colorStyle xmlns:cs="http://schemas.microsoft.com/office/drawing/2012/chartStyle" xmlns:a="http://schemas.openxmlformats.org/drawingml/2006/main" meth="withinLinear" id="17">
  <a:schemeClr val="accent4"/>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267" tIns="45632" rIns="91267" bIns="45632" rtlCol="0"/>
          <a:lstStyle>
            <a:lvl1pPr algn="l">
              <a:defRPr sz="1200"/>
            </a:lvl1pPr>
          </a:lstStyle>
          <a:p>
            <a:endParaRPr lang="en-US"/>
          </a:p>
        </p:txBody>
      </p:sp>
      <p:sp>
        <p:nvSpPr>
          <p:cNvPr id="3" name="Date Placeholder 2"/>
          <p:cNvSpPr>
            <a:spLocks noGrp="1"/>
          </p:cNvSpPr>
          <p:nvPr>
            <p:ph type="dt" sz="quarter" idx="1"/>
          </p:nvPr>
        </p:nvSpPr>
        <p:spPr>
          <a:xfrm>
            <a:off x="3850444" y="0"/>
            <a:ext cx="2945659" cy="496332"/>
          </a:xfrm>
          <a:prstGeom prst="rect">
            <a:avLst/>
          </a:prstGeom>
        </p:spPr>
        <p:txBody>
          <a:bodyPr vert="horz" lIns="91267" tIns="45632" rIns="91267" bIns="45632" rtlCol="0"/>
          <a:lstStyle>
            <a:lvl1pPr algn="r">
              <a:defRPr sz="1200"/>
            </a:lvl1pPr>
          </a:lstStyle>
          <a:p>
            <a:fld id="{F7971A4F-AE77-4345-97D4-2F23D5084617}" type="datetimeFigureOut">
              <a:rPr lang="en-US" smtClean="0"/>
              <a:pPr/>
              <a:t>5/17/2019</a:t>
            </a:fld>
            <a:endParaRPr lang="en-US"/>
          </a:p>
        </p:txBody>
      </p:sp>
      <p:sp>
        <p:nvSpPr>
          <p:cNvPr id="4" name="Footer Placeholder 3"/>
          <p:cNvSpPr>
            <a:spLocks noGrp="1"/>
          </p:cNvSpPr>
          <p:nvPr>
            <p:ph type="ftr" sz="quarter" idx="2"/>
          </p:nvPr>
        </p:nvSpPr>
        <p:spPr>
          <a:xfrm>
            <a:off x="0" y="9428583"/>
            <a:ext cx="2945659" cy="496332"/>
          </a:xfrm>
          <a:prstGeom prst="rect">
            <a:avLst/>
          </a:prstGeom>
        </p:spPr>
        <p:txBody>
          <a:bodyPr vert="horz" lIns="91267" tIns="45632" rIns="91267" bIns="45632"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3"/>
            <a:ext cx="2945659" cy="496332"/>
          </a:xfrm>
          <a:prstGeom prst="rect">
            <a:avLst/>
          </a:prstGeom>
        </p:spPr>
        <p:txBody>
          <a:bodyPr vert="horz" lIns="91267" tIns="45632" rIns="91267" bIns="45632" rtlCol="0" anchor="b"/>
          <a:lstStyle>
            <a:lvl1pPr algn="r">
              <a:defRPr sz="1200"/>
            </a:lvl1pPr>
          </a:lstStyle>
          <a:p>
            <a:fld id="{8104DE14-01FB-DD4D-B976-1C5C12F336B0}" type="slidenum">
              <a:rPr lang="en-US" smtClean="0"/>
              <a:pPr/>
              <a:t>‹#›</a:t>
            </a:fld>
            <a:endParaRPr lang="en-US"/>
          </a:p>
        </p:txBody>
      </p:sp>
    </p:spTree>
    <p:extLst>
      <p:ext uri="{BB962C8B-B14F-4D97-AF65-F5344CB8AC3E}">
        <p14:creationId xmlns:p14="http://schemas.microsoft.com/office/powerpoint/2010/main" val="376938396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2"/>
          <p:cNvSpPr>
            <a:spLocks noGrp="1" noChangeArrowheads="1"/>
          </p:cNvSpPr>
          <p:nvPr>
            <p:ph type="hdr" sz="quarter"/>
          </p:nvPr>
        </p:nvSpPr>
        <p:spPr bwMode="auto">
          <a:xfrm>
            <a:off x="0" y="0"/>
            <a:ext cx="2945659" cy="496332"/>
          </a:xfrm>
          <a:prstGeom prst="rect">
            <a:avLst/>
          </a:prstGeom>
          <a:noFill/>
          <a:ln w="9525">
            <a:noFill/>
            <a:miter lim="800000"/>
            <a:headEnd/>
            <a:tailEnd/>
          </a:ln>
        </p:spPr>
        <p:txBody>
          <a:bodyPr vert="horz" wrap="square" lIns="91267" tIns="45632" rIns="91267" bIns="45632" numCol="1" anchor="t" anchorCtr="0" compatLnSpc="1">
            <a:prstTxWarp prst="textNoShape">
              <a:avLst/>
            </a:prstTxWarp>
          </a:bodyPr>
          <a:lstStyle>
            <a:lvl1pPr>
              <a:defRPr sz="1200">
                <a:latin typeface="Arial" pitchFamily="27" charset="0"/>
                <a:ea typeface="Arial Unicode MS" pitchFamily="-109" charset="0"/>
                <a:cs typeface="Arial Unicode MS" pitchFamily="-109" charset="0"/>
              </a:defRPr>
            </a:lvl1pPr>
          </a:lstStyle>
          <a:p>
            <a:pPr>
              <a:defRPr/>
            </a:pPr>
            <a:endParaRPr lang="en-US" altLang="zh-TW"/>
          </a:p>
        </p:txBody>
      </p:sp>
      <p:sp>
        <p:nvSpPr>
          <p:cNvPr id="16387" name="Rectangle 3"/>
          <p:cNvSpPr>
            <a:spLocks noGrp="1" noChangeArrowheads="1"/>
          </p:cNvSpPr>
          <p:nvPr>
            <p:ph type="dt" idx="1"/>
          </p:nvPr>
        </p:nvSpPr>
        <p:spPr bwMode="auto">
          <a:xfrm>
            <a:off x="3852019" y="0"/>
            <a:ext cx="2945659" cy="496332"/>
          </a:xfrm>
          <a:prstGeom prst="rect">
            <a:avLst/>
          </a:prstGeom>
          <a:noFill/>
          <a:ln w="9525">
            <a:noFill/>
            <a:miter lim="800000"/>
            <a:headEnd/>
            <a:tailEnd/>
          </a:ln>
        </p:spPr>
        <p:txBody>
          <a:bodyPr vert="horz" wrap="square" lIns="91267" tIns="45632" rIns="91267" bIns="45632" numCol="1" anchor="t" anchorCtr="0" compatLnSpc="1">
            <a:prstTxWarp prst="textNoShape">
              <a:avLst/>
            </a:prstTxWarp>
          </a:bodyPr>
          <a:lstStyle>
            <a:lvl1pPr algn="r">
              <a:defRPr sz="1200">
                <a:latin typeface="Arial" pitchFamily="27" charset="0"/>
                <a:ea typeface="Arial Unicode MS" pitchFamily="-109" charset="0"/>
                <a:cs typeface="Arial Unicode MS" pitchFamily="-109" charset="0"/>
              </a:defRPr>
            </a:lvl1pPr>
          </a:lstStyle>
          <a:p>
            <a:pPr>
              <a:defRPr/>
            </a:pPr>
            <a:endParaRPr lang="en-US" altLang="zh-TW"/>
          </a:p>
        </p:txBody>
      </p:sp>
      <p:sp>
        <p:nvSpPr>
          <p:cNvPr id="12292"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p:spPr>
      </p:sp>
      <p:sp>
        <p:nvSpPr>
          <p:cNvPr id="16389" name="Rectangle 5"/>
          <p:cNvSpPr>
            <a:spLocks noGrp="1" noChangeArrowheads="1"/>
          </p:cNvSpPr>
          <p:nvPr>
            <p:ph type="body" sz="quarter" idx="3"/>
          </p:nvPr>
        </p:nvSpPr>
        <p:spPr bwMode="auto">
          <a:xfrm>
            <a:off x="906357" y="4715156"/>
            <a:ext cx="4984962" cy="4466987"/>
          </a:xfrm>
          <a:prstGeom prst="rect">
            <a:avLst/>
          </a:prstGeom>
          <a:noFill/>
          <a:ln w="9525">
            <a:noFill/>
            <a:miter lim="800000"/>
            <a:headEnd/>
            <a:tailEnd/>
          </a:ln>
        </p:spPr>
        <p:txBody>
          <a:bodyPr vert="horz" wrap="square" lIns="91267" tIns="45632" rIns="91267" bIns="45632" numCol="1" anchor="t" anchorCtr="0" compatLnSpc="1">
            <a:prstTxWarp prst="textNoShape">
              <a:avLst/>
            </a:prstTxWarp>
          </a:bodyPr>
          <a:lstStyle/>
          <a:p>
            <a:pPr lvl="0"/>
            <a:r>
              <a:rPr lang="en-US" altLang="zh-TW" noProof="0"/>
              <a:t>Click to edit Master text styles</a:t>
            </a:r>
          </a:p>
          <a:p>
            <a:pPr lvl="1"/>
            <a:r>
              <a:rPr lang="en-US" altLang="zh-TW" noProof="0"/>
              <a:t>Second level</a:t>
            </a:r>
          </a:p>
          <a:p>
            <a:pPr lvl="2"/>
            <a:r>
              <a:rPr lang="en-US" altLang="zh-TW" noProof="0"/>
              <a:t>Third level</a:t>
            </a:r>
          </a:p>
          <a:p>
            <a:pPr lvl="3"/>
            <a:r>
              <a:rPr lang="en-US" altLang="zh-TW" noProof="0"/>
              <a:t>Fourth level</a:t>
            </a:r>
          </a:p>
          <a:p>
            <a:pPr lvl="4"/>
            <a:r>
              <a:rPr lang="en-US" altLang="zh-TW" noProof="0"/>
              <a:t>Fifth level</a:t>
            </a:r>
          </a:p>
        </p:txBody>
      </p:sp>
      <p:sp>
        <p:nvSpPr>
          <p:cNvPr id="16390" name="Rectangle 6"/>
          <p:cNvSpPr>
            <a:spLocks noGrp="1" noChangeArrowheads="1"/>
          </p:cNvSpPr>
          <p:nvPr>
            <p:ph type="ftr" sz="quarter" idx="4"/>
          </p:nvPr>
        </p:nvSpPr>
        <p:spPr bwMode="auto">
          <a:xfrm>
            <a:off x="0" y="9430307"/>
            <a:ext cx="2945659" cy="496332"/>
          </a:xfrm>
          <a:prstGeom prst="rect">
            <a:avLst/>
          </a:prstGeom>
          <a:noFill/>
          <a:ln w="9525">
            <a:noFill/>
            <a:miter lim="800000"/>
            <a:headEnd/>
            <a:tailEnd/>
          </a:ln>
        </p:spPr>
        <p:txBody>
          <a:bodyPr vert="horz" wrap="square" lIns="91267" tIns="45632" rIns="91267" bIns="45632" numCol="1" anchor="b" anchorCtr="0" compatLnSpc="1">
            <a:prstTxWarp prst="textNoShape">
              <a:avLst/>
            </a:prstTxWarp>
          </a:bodyPr>
          <a:lstStyle>
            <a:lvl1pPr>
              <a:defRPr sz="1200">
                <a:latin typeface="Arial" pitchFamily="27" charset="0"/>
                <a:ea typeface="Arial Unicode MS" pitchFamily="-109" charset="0"/>
                <a:cs typeface="Arial Unicode MS" pitchFamily="-109" charset="0"/>
              </a:defRPr>
            </a:lvl1pPr>
          </a:lstStyle>
          <a:p>
            <a:pPr>
              <a:defRPr/>
            </a:pPr>
            <a:endParaRPr lang="en-US" altLang="zh-TW"/>
          </a:p>
        </p:txBody>
      </p:sp>
      <p:sp>
        <p:nvSpPr>
          <p:cNvPr id="16391" name="Rectangle 7"/>
          <p:cNvSpPr>
            <a:spLocks noGrp="1" noChangeArrowheads="1"/>
          </p:cNvSpPr>
          <p:nvPr>
            <p:ph type="sldNum" sz="quarter" idx="5"/>
          </p:nvPr>
        </p:nvSpPr>
        <p:spPr bwMode="auto">
          <a:xfrm>
            <a:off x="3852019" y="9430307"/>
            <a:ext cx="2945659" cy="496332"/>
          </a:xfrm>
          <a:prstGeom prst="rect">
            <a:avLst/>
          </a:prstGeom>
          <a:noFill/>
          <a:ln w="9525">
            <a:noFill/>
            <a:miter lim="800000"/>
            <a:headEnd/>
            <a:tailEnd/>
          </a:ln>
        </p:spPr>
        <p:txBody>
          <a:bodyPr vert="horz" wrap="square" lIns="91267" tIns="45632" rIns="91267" bIns="45632" numCol="1" anchor="b" anchorCtr="0" compatLnSpc="1">
            <a:prstTxWarp prst="textNoShape">
              <a:avLst/>
            </a:prstTxWarp>
          </a:bodyPr>
          <a:lstStyle>
            <a:lvl1pPr algn="r">
              <a:defRPr sz="1200">
                <a:latin typeface="Arial" pitchFamily="27" charset="0"/>
                <a:ea typeface="Arial Unicode MS" pitchFamily="-109" charset="0"/>
                <a:cs typeface="Arial Unicode MS" pitchFamily="-109" charset="0"/>
              </a:defRPr>
            </a:lvl1pPr>
          </a:lstStyle>
          <a:p>
            <a:pPr>
              <a:defRPr/>
            </a:pPr>
            <a:fld id="{03D12C4D-538B-ED45-888A-085C9897D28D}" type="slidenum">
              <a:rPr lang="en-US" altLang="zh-TW"/>
              <a:pPr>
                <a:defRPr/>
              </a:pPr>
              <a:t>‹#›</a:t>
            </a:fld>
            <a:endParaRPr lang="en-US" altLang="zh-TW"/>
          </a:p>
        </p:txBody>
      </p:sp>
    </p:spTree>
    <p:extLst>
      <p:ext uri="{BB962C8B-B14F-4D97-AF65-F5344CB8AC3E}">
        <p14:creationId xmlns:p14="http://schemas.microsoft.com/office/powerpoint/2010/main" val="255360321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109" charset="0"/>
        <a:ea typeface="Arial Unicode MS" pitchFamily="-109" charset="0"/>
        <a:cs typeface="Arial Unicode MS" pitchFamily="-109" charset="0"/>
      </a:defRPr>
    </a:lvl1pPr>
    <a:lvl2pPr marL="457200" algn="l" rtl="0" eaLnBrk="0" fontAlgn="base" hangingPunct="0">
      <a:spcBef>
        <a:spcPct val="30000"/>
      </a:spcBef>
      <a:spcAft>
        <a:spcPct val="0"/>
      </a:spcAft>
      <a:defRPr sz="1200" kern="1200">
        <a:solidFill>
          <a:schemeClr val="tx1"/>
        </a:solidFill>
        <a:latin typeface="Arial" pitchFamily="-109" charset="0"/>
        <a:ea typeface="Arial Unicode MS" pitchFamily="-109" charset="0"/>
        <a:cs typeface="Arial Unicode MS" pitchFamily="-109" charset="0"/>
      </a:defRPr>
    </a:lvl2pPr>
    <a:lvl3pPr marL="914400" algn="l" rtl="0" eaLnBrk="0" fontAlgn="base" hangingPunct="0">
      <a:spcBef>
        <a:spcPct val="30000"/>
      </a:spcBef>
      <a:spcAft>
        <a:spcPct val="0"/>
      </a:spcAft>
      <a:defRPr sz="1200" kern="1200">
        <a:solidFill>
          <a:schemeClr val="tx1"/>
        </a:solidFill>
        <a:latin typeface="Arial" pitchFamily="-109" charset="0"/>
        <a:ea typeface="Arial Unicode MS" pitchFamily="-109" charset="0"/>
        <a:cs typeface="Arial Unicode MS" pitchFamily="-109" charset="0"/>
      </a:defRPr>
    </a:lvl3pPr>
    <a:lvl4pPr marL="1371600" algn="l" rtl="0" eaLnBrk="0" fontAlgn="base" hangingPunct="0">
      <a:spcBef>
        <a:spcPct val="30000"/>
      </a:spcBef>
      <a:spcAft>
        <a:spcPct val="0"/>
      </a:spcAft>
      <a:defRPr sz="1200" kern="1200">
        <a:solidFill>
          <a:schemeClr val="tx1"/>
        </a:solidFill>
        <a:latin typeface="Arial" pitchFamily="-109" charset="0"/>
        <a:ea typeface="Arial Unicode MS" pitchFamily="-109" charset="0"/>
        <a:cs typeface="Arial Unicode MS" pitchFamily="-109" charset="0"/>
      </a:defRPr>
    </a:lvl4pPr>
    <a:lvl5pPr marL="1828800" algn="l" rtl="0" eaLnBrk="0" fontAlgn="base" hangingPunct="0">
      <a:spcBef>
        <a:spcPct val="30000"/>
      </a:spcBef>
      <a:spcAft>
        <a:spcPct val="0"/>
      </a:spcAft>
      <a:defRPr sz="1200" kern="1200">
        <a:solidFill>
          <a:schemeClr val="tx1"/>
        </a:solidFill>
        <a:latin typeface="Arial" pitchFamily="-109" charset="0"/>
        <a:ea typeface="Arial Unicode MS" pitchFamily="-109" charset="0"/>
        <a:cs typeface="Arial Unicode MS" pitchFamily="-109"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03D12C4D-538B-ED45-888A-085C9897D28D}" type="slidenum">
              <a:rPr lang="en-US" altLang="zh-TW" smtClean="0"/>
              <a:pPr>
                <a:defRPr/>
              </a:pPr>
              <a:t>1</a:t>
            </a:fld>
            <a:endParaRPr lang="en-US" altLang="zh-TW"/>
          </a:p>
        </p:txBody>
      </p:sp>
    </p:spTree>
    <p:extLst>
      <p:ext uri="{BB962C8B-B14F-4D97-AF65-F5344CB8AC3E}">
        <p14:creationId xmlns:p14="http://schemas.microsoft.com/office/powerpoint/2010/main" val="1716620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dirty="0"/>
          </a:p>
        </p:txBody>
      </p:sp>
      <p:sp>
        <p:nvSpPr>
          <p:cNvPr id="4" name="Θέση αριθμού διαφάνειας 3"/>
          <p:cNvSpPr>
            <a:spLocks noGrp="1"/>
          </p:cNvSpPr>
          <p:nvPr>
            <p:ph type="sldNum" sz="quarter" idx="10"/>
          </p:nvPr>
        </p:nvSpPr>
        <p:spPr/>
        <p:txBody>
          <a:bodyPr/>
          <a:lstStyle/>
          <a:p>
            <a:fld id="{AAE81C62-95BE-4B4F-99A5-D8B734D60247}" type="slidenum">
              <a:rPr lang="el-GR" smtClean="0"/>
              <a:t>2</a:t>
            </a:fld>
            <a:endParaRPr lang="el-GR"/>
          </a:p>
        </p:txBody>
      </p:sp>
    </p:spTree>
    <p:extLst>
      <p:ext uri="{BB962C8B-B14F-4D97-AF65-F5344CB8AC3E}">
        <p14:creationId xmlns:p14="http://schemas.microsoft.com/office/powerpoint/2010/main" val="1591557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03D12C4D-538B-ED45-888A-085C9897D28D}" type="slidenum">
              <a:rPr lang="en-US" altLang="zh-TW" smtClean="0"/>
              <a:pPr>
                <a:defRPr/>
              </a:pPr>
              <a:t>3</a:t>
            </a:fld>
            <a:endParaRPr lang="en-US" altLang="zh-TW"/>
          </a:p>
        </p:txBody>
      </p:sp>
    </p:spTree>
    <p:extLst>
      <p:ext uri="{BB962C8B-B14F-4D97-AF65-F5344CB8AC3E}">
        <p14:creationId xmlns:p14="http://schemas.microsoft.com/office/powerpoint/2010/main" val="1463180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03D12C4D-538B-ED45-888A-085C9897D28D}" type="slidenum">
              <a:rPr lang="en-US" altLang="zh-TW" smtClean="0"/>
              <a:pPr>
                <a:defRPr/>
              </a:pPr>
              <a:t>4</a:t>
            </a:fld>
            <a:endParaRPr lang="en-US" altLang="zh-TW"/>
          </a:p>
        </p:txBody>
      </p:sp>
    </p:spTree>
    <p:extLst>
      <p:ext uri="{BB962C8B-B14F-4D97-AF65-F5344CB8AC3E}">
        <p14:creationId xmlns:p14="http://schemas.microsoft.com/office/powerpoint/2010/main" val="26104579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03D12C4D-538B-ED45-888A-085C9897D28D}" type="slidenum">
              <a:rPr lang="en-US" altLang="zh-TW" smtClean="0"/>
              <a:pPr>
                <a:defRPr/>
              </a:pPr>
              <a:t>6</a:t>
            </a:fld>
            <a:endParaRPr lang="en-US" altLang="zh-TW"/>
          </a:p>
        </p:txBody>
      </p:sp>
    </p:spTree>
    <p:extLst>
      <p:ext uri="{BB962C8B-B14F-4D97-AF65-F5344CB8AC3E}">
        <p14:creationId xmlns:p14="http://schemas.microsoft.com/office/powerpoint/2010/main" val="1993991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03D12C4D-538B-ED45-888A-085C9897D28D}" type="slidenum">
              <a:rPr lang="en-US" altLang="zh-TW" smtClean="0"/>
              <a:pPr>
                <a:defRPr/>
              </a:pPr>
              <a:t>8</a:t>
            </a:fld>
            <a:endParaRPr lang="en-US" altLang="zh-TW"/>
          </a:p>
        </p:txBody>
      </p:sp>
    </p:spTree>
    <p:extLst>
      <p:ext uri="{BB962C8B-B14F-4D97-AF65-F5344CB8AC3E}">
        <p14:creationId xmlns:p14="http://schemas.microsoft.com/office/powerpoint/2010/main" val="32722607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Θέση εικόνας διαφάνειας 1"/>
          <p:cNvSpPr>
            <a:spLocks noGrp="1" noRot="1" noChangeAspect="1"/>
          </p:cNvSpPr>
          <p:nvPr>
            <p:ph type="sldImg"/>
          </p:nvPr>
        </p:nvSpPr>
        <p:spPr/>
      </p:sp>
      <p:sp>
        <p:nvSpPr>
          <p:cNvPr id="3" name="Θέση σημειώσεων 2"/>
          <p:cNvSpPr>
            <a:spLocks noGrp="1"/>
          </p:cNvSpPr>
          <p:nvPr>
            <p:ph type="body" idx="1"/>
          </p:nvPr>
        </p:nvSpPr>
        <p:spPr/>
        <p:txBody>
          <a:bodyPr/>
          <a:lstStyle/>
          <a:p>
            <a:endParaRPr lang="el-GR"/>
          </a:p>
        </p:txBody>
      </p:sp>
      <p:sp>
        <p:nvSpPr>
          <p:cNvPr id="4" name="Θέση αριθμού διαφάνειας 3"/>
          <p:cNvSpPr>
            <a:spLocks noGrp="1"/>
          </p:cNvSpPr>
          <p:nvPr>
            <p:ph type="sldNum" sz="quarter" idx="10"/>
          </p:nvPr>
        </p:nvSpPr>
        <p:spPr/>
        <p:txBody>
          <a:bodyPr/>
          <a:lstStyle/>
          <a:p>
            <a:pPr>
              <a:defRPr/>
            </a:pPr>
            <a:fld id="{03D12C4D-538B-ED45-888A-085C9897D28D}" type="slidenum">
              <a:rPr lang="en-US" altLang="zh-TW" smtClean="0"/>
              <a:pPr>
                <a:defRPr/>
              </a:pPr>
              <a:t>9</a:t>
            </a:fld>
            <a:endParaRPr lang="en-US" altLang="zh-TW"/>
          </a:p>
        </p:txBody>
      </p:sp>
    </p:spTree>
    <p:extLst>
      <p:ext uri="{BB962C8B-B14F-4D97-AF65-F5344CB8AC3E}">
        <p14:creationId xmlns:p14="http://schemas.microsoft.com/office/powerpoint/2010/main" val="28697393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4.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g"/><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3" name="Αντικείμενο 2" hidden="1"/>
          <p:cNvGraphicFramePr>
            <a:graphicFrameLocks noChangeAspect="1"/>
          </p:cNvGraphicFramePr>
          <p:nvPr userDrawn="1">
            <p:custDataLst>
              <p:tags r:id="rId2"/>
            </p:custDataLst>
            <p:extLst>
              <p:ext uri="{D42A27DB-BD31-4B8C-83A1-F6EECF244321}">
                <p14:modId xmlns:p14="http://schemas.microsoft.com/office/powerpoint/2010/main" val="12642699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824" name="think-cell Slide" r:id="rId4" imgW="360" imgH="360" progId="TCLayout.ActiveDocument.1">
                  <p:embed/>
                </p:oleObj>
              </mc:Choice>
              <mc:Fallback>
                <p:oleObj name="think-cell Slide" r:id="rId4" imgW="360" imgH="360" progId="TCLayout.ActiveDocument.1">
                  <p:embed/>
                  <p:pic>
                    <p:nvPicPr>
                      <p:cNvPr id="0" name="Picture 11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07" y="0"/>
            <a:ext cx="9108281" cy="6858000"/>
          </a:xfrm>
          <a:prstGeom prst="rect">
            <a:avLst/>
          </a:prstGeom>
        </p:spPr>
      </p:pic>
      <p:sp>
        <p:nvSpPr>
          <p:cNvPr id="5" name="Rectangle 38"/>
          <p:cNvSpPr>
            <a:spLocks noChangeArrowheads="1"/>
          </p:cNvSpPr>
          <p:nvPr/>
        </p:nvSpPr>
        <p:spPr bwMode="auto">
          <a:xfrm>
            <a:off x="1541472" y="4586337"/>
            <a:ext cx="184731" cy="461665"/>
          </a:xfrm>
          <a:prstGeom prst="rect">
            <a:avLst/>
          </a:prstGeom>
          <a:noFill/>
          <a:ln w="9525">
            <a:noFill/>
            <a:miter lim="800000"/>
            <a:headEnd/>
            <a:tailEnd/>
          </a:ln>
          <a:effectLst/>
        </p:spPr>
        <p:txBody>
          <a:bodyPr wrap="none">
            <a:prstTxWarp prst="textNoShape">
              <a:avLst/>
            </a:prstTxWarp>
            <a:spAutoFit/>
          </a:bodyPr>
          <a:lstStyle/>
          <a:p>
            <a:pPr>
              <a:defRPr/>
            </a:pPr>
            <a:endParaRPr lang="en-US" sz="2400">
              <a:latin typeface="Arial" pitchFamily="27" charset="0"/>
              <a:ea typeface="Arial Unicode MS" pitchFamily="-109" charset="0"/>
              <a:cs typeface="Arial Unicode MS" pitchFamily="-109" charset="0"/>
            </a:endParaRPr>
          </a:p>
        </p:txBody>
      </p:sp>
      <p:sp>
        <p:nvSpPr>
          <p:cNvPr id="15362" name="Rectangle 2"/>
          <p:cNvSpPr>
            <a:spLocks noGrp="1" noChangeArrowheads="1"/>
          </p:cNvSpPr>
          <p:nvPr>
            <p:ph type="ctrTitle"/>
          </p:nvPr>
        </p:nvSpPr>
        <p:spPr>
          <a:xfrm>
            <a:off x="309564" y="2947057"/>
            <a:ext cx="8434387" cy="656568"/>
          </a:xfrm>
        </p:spPr>
        <p:txBody>
          <a:bodyPr anchor="b"/>
          <a:lstStyle>
            <a:lvl1pPr marL="0" indent="0" algn="l" rtl="0" eaLnBrk="0" fontAlgn="base" hangingPunct="0">
              <a:lnSpc>
                <a:spcPct val="80000"/>
              </a:lnSpc>
              <a:spcBef>
                <a:spcPct val="0"/>
              </a:spcBef>
              <a:spcAft>
                <a:spcPct val="0"/>
              </a:spcAft>
              <a:buFontTx/>
              <a:buNone/>
              <a:defRPr lang="en-US" altLang="zh-TW" sz="5000" kern="1200" dirty="0">
                <a:solidFill>
                  <a:srgbClr val="1F497D"/>
                </a:solidFill>
                <a:latin typeface="+mn-lt"/>
                <a:ea typeface="Arial Unicode MS" charset="0"/>
                <a:cs typeface="CMCatalogue-Light"/>
              </a:defRPr>
            </a:lvl1pPr>
          </a:lstStyle>
          <a:p>
            <a:r>
              <a:rPr lang="en-US" altLang="zh-TW" dirty="0" smtClean="0"/>
              <a:t>Click to edit Master title style</a:t>
            </a:r>
            <a:endParaRPr lang="en-US" altLang="zh-TW" dirty="0"/>
          </a:p>
        </p:txBody>
      </p:sp>
      <p:sp>
        <p:nvSpPr>
          <p:cNvPr id="15363" name="Rectangle 3"/>
          <p:cNvSpPr>
            <a:spLocks noGrp="1" noChangeArrowheads="1"/>
          </p:cNvSpPr>
          <p:nvPr>
            <p:ph type="subTitle" idx="1"/>
          </p:nvPr>
        </p:nvSpPr>
        <p:spPr>
          <a:xfrm>
            <a:off x="318466" y="3644103"/>
            <a:ext cx="7086600" cy="588946"/>
          </a:xfrm>
        </p:spPr>
        <p:txBody>
          <a:bodyPr/>
          <a:lstStyle>
            <a:lvl1pPr marL="0" indent="0" algn="l" rtl="0" eaLnBrk="0" fontAlgn="base" hangingPunct="0">
              <a:lnSpc>
                <a:spcPct val="80000"/>
              </a:lnSpc>
              <a:spcBef>
                <a:spcPct val="0"/>
              </a:spcBef>
              <a:spcAft>
                <a:spcPct val="0"/>
              </a:spcAft>
              <a:buFontTx/>
              <a:buNone/>
              <a:defRPr lang="en-US" altLang="zh-TW" sz="3000" kern="1200" dirty="0">
                <a:solidFill>
                  <a:srgbClr val="4F81BD"/>
                </a:solidFill>
                <a:latin typeface="+mn-lt"/>
                <a:ea typeface="Arial Unicode MS" charset="0"/>
                <a:cs typeface="CMCatalogue-Light"/>
              </a:defRPr>
            </a:lvl1pPr>
          </a:lstStyle>
          <a:p>
            <a:r>
              <a:rPr lang="en-US" altLang="zh-TW" dirty="0" smtClean="0"/>
              <a:t>Click </a:t>
            </a:r>
            <a:r>
              <a:rPr lang="en-US" altLang="zh-TW" dirty="0"/>
              <a:t>to edit Master subtitle style</a:t>
            </a:r>
          </a:p>
        </p:txBody>
      </p:sp>
      <p:pic>
        <p:nvPicPr>
          <p:cNvPr id="7" name="Picture 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07" y="0"/>
            <a:ext cx="9108281" cy="6858000"/>
          </a:xfrm>
          <a:prstGeom prst="rect">
            <a:avLst/>
          </a:prstGeom>
        </p:spPr>
      </p:pic>
      <p:pic>
        <p:nvPicPr>
          <p:cNvPr id="10" name="Picture 9"/>
          <p:cNvPicPr>
            <a:picLocks/>
          </p:cNvPicPr>
          <p:nvPr userDrawn="1"/>
        </p:nvPicPr>
        <p:blipFill>
          <a:blip r:embed="rId8">
            <a:extLst>
              <a:ext uri="{28A0092B-C50C-407E-A947-70E740481C1C}">
                <a14:useLocalDpi xmlns:a14="http://schemas.microsoft.com/office/drawing/2010/main" val="0"/>
              </a:ext>
            </a:extLst>
          </a:blip>
          <a:stretch>
            <a:fillRect/>
          </a:stretch>
        </p:blipFill>
        <p:spPr>
          <a:xfrm>
            <a:off x="7096504" y="6148087"/>
            <a:ext cx="1900854" cy="796772"/>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5613" y="1231587"/>
            <a:ext cx="8226425" cy="4114800"/>
          </a:xfrm>
        </p:spPr>
        <p:txBody>
          <a:bodyPr/>
          <a:lstStyle>
            <a:lvl1pPr marL="0" indent="0">
              <a:buNone/>
              <a:defRPr sz="3200" b="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455613" y="5367338"/>
            <a:ext cx="8226425" cy="804862"/>
          </a:xfrm>
        </p:spPr>
        <p:txBody>
          <a:bodyPr/>
          <a:lstStyle>
            <a:lvl1pPr marL="0" indent="0" algn="ctr">
              <a:buNone/>
              <a:defRPr sz="1600" b="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Title 1"/>
          <p:cNvSpPr>
            <a:spLocks noGrp="1"/>
          </p:cNvSpPr>
          <p:nvPr>
            <p:ph type="title"/>
          </p:nvPr>
        </p:nvSpPr>
        <p:spPr>
          <a:xfrm>
            <a:off x="1089891" y="269875"/>
            <a:ext cx="7592677" cy="662036"/>
          </a:xfrm>
        </p:spPr>
        <p:txBody>
          <a:bodyPr/>
          <a:lstStyle>
            <a:lvl1pPr>
              <a:defRPr sz="2000"/>
            </a:lvl1pPr>
          </a:lstStyle>
          <a:p>
            <a:r>
              <a:rPr lang="en-US" dirty="0" smtClean="0"/>
              <a:t>Click to edit Master title style</a:t>
            </a:r>
            <a:endParaRPr lang="en-US"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796328901"/>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664710987"/>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35114840"/>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640272077"/>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43144634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804663796"/>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nvPr>
        </p:nvGraphicFramePr>
        <p:xfrm>
          <a:off x="1596" y="1601"/>
          <a:ext cx="1587" cy="1587"/>
        </p:xfrm>
        <a:graphic>
          <a:graphicData uri="http://schemas.openxmlformats.org/presentationml/2006/ole">
            <mc:AlternateContent xmlns:mc="http://schemas.openxmlformats.org/markup-compatibility/2006">
              <mc:Choice xmlns:v="urn:schemas-microsoft-com:vml" Requires="v">
                <p:oleObj spid="_x0000_s1957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6" y="1601"/>
                        <a:ext cx="1587" cy="1587"/>
                      </a:xfrm>
                      <a:prstGeom prst="rect">
                        <a:avLst/>
                      </a:prstGeom>
                    </p:spPr>
                  </p:pic>
                </p:oleObj>
              </mc:Fallback>
            </mc:AlternateContent>
          </a:graphicData>
        </a:graphic>
      </p:graphicFrame>
    </p:spTree>
    <p:extLst>
      <p:ext uri="{BB962C8B-B14F-4D97-AF65-F5344CB8AC3E}">
        <p14:creationId xmlns:p14="http://schemas.microsoft.com/office/powerpoint/2010/main" val="3695857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4281150011"/>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3265146788"/>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81579085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4828" y="1095375"/>
            <a:ext cx="4037012" cy="4942788"/>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54265" y="1095375"/>
            <a:ext cx="4037013" cy="4942788"/>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1105786" y="269875"/>
            <a:ext cx="7576782" cy="662036"/>
          </a:xfrm>
        </p:spPr>
        <p:txBody>
          <a:bodyPr/>
          <a:lstStyle>
            <a:lvl1pPr>
              <a:defRPr sz="2000"/>
            </a:lvl1pPr>
          </a:lstStyle>
          <a:p>
            <a:r>
              <a:rPr lang="en-US" dirty="0" smtClean="0"/>
              <a:t>Click to edit Master title style</a:t>
            </a:r>
            <a:endParaRPr lang="en-US" dirty="0"/>
          </a:p>
        </p:txBody>
      </p:sp>
    </p:spTree>
    <p:extLst>
      <p:ext uri="{BB962C8B-B14F-4D97-AF65-F5344CB8AC3E}">
        <p14:creationId xmlns:p14="http://schemas.microsoft.com/office/powerpoint/2010/main" val="281202931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174512190"/>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023827499"/>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64319578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40103456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993666635"/>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nvPr>
        </p:nvGraphicFramePr>
        <p:xfrm>
          <a:off x="1596" y="1601"/>
          <a:ext cx="1587" cy="1587"/>
        </p:xfrm>
        <a:graphic>
          <a:graphicData uri="http://schemas.openxmlformats.org/presentationml/2006/ole">
            <mc:AlternateContent xmlns:mc="http://schemas.openxmlformats.org/markup-compatibility/2006">
              <mc:Choice xmlns:v="urn:schemas-microsoft-com:vml" Requires="v">
                <p:oleObj spid="_x0000_s1977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6" y="1601"/>
                        <a:ext cx="1587" cy="1587"/>
                      </a:xfrm>
                      <a:prstGeom prst="rect">
                        <a:avLst/>
                      </a:prstGeom>
                    </p:spPr>
                  </p:pic>
                </p:oleObj>
              </mc:Fallback>
            </mc:AlternateContent>
          </a:graphicData>
        </a:graphic>
      </p:graphicFrame>
    </p:spTree>
    <p:extLst>
      <p:ext uri="{BB962C8B-B14F-4D97-AF65-F5344CB8AC3E}">
        <p14:creationId xmlns:p14="http://schemas.microsoft.com/office/powerpoint/2010/main" val="110563779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8"/>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4" y="2951083"/>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200684515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27"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8"/>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4" y="2951083"/>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9"/>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1502790057"/>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65"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771033" y="6573428"/>
            <a:ext cx="277065" cy="123111"/>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800" smtClean="0"/>
              <a:pPr eaLnBrk="1" fontAlgn="auto" hangingPunct="1">
                <a:spcBef>
                  <a:spcPts val="0"/>
                </a:spcBef>
                <a:spcAft>
                  <a:spcPts val="0"/>
                </a:spcAft>
              </a:pPr>
              <a:t>‹#›</a:t>
            </a:fld>
            <a:endParaRPr lang="en-US" sz="800" dirty="0"/>
          </a:p>
        </p:txBody>
      </p:sp>
    </p:spTree>
    <p:extLst>
      <p:ext uri="{BB962C8B-B14F-4D97-AF65-F5344CB8AC3E}">
        <p14:creationId xmlns:p14="http://schemas.microsoft.com/office/powerpoint/2010/main" val="297443339"/>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65"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3"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7"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124"/>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5127797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24349"/>
            <a:ext cx="4040188" cy="801618"/>
          </a:xfrm>
        </p:spPr>
        <p:txBody>
          <a:bodyPr anchor="b"/>
          <a:lstStyle>
            <a:lvl1pPr marL="0" indent="0" algn="ctr">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46787"/>
            <a:ext cx="4040188" cy="4179376"/>
          </a:xfrm>
        </p:spPr>
        <p:txBody>
          <a:bodyPr/>
          <a:lstStyle>
            <a:lvl1pPr>
              <a:defRPr sz="1800"/>
            </a:lvl1pPr>
            <a:lvl2pPr>
              <a:defRPr sz="1600"/>
            </a:lvl2pPr>
            <a:lvl3pPr>
              <a:defRPr sz="1400"/>
            </a:lvl3pPr>
            <a:lvl4pPr>
              <a:defRPr sz="1200"/>
            </a:lvl4pPr>
            <a:lvl5pPr>
              <a:defRPr sz="1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124349"/>
            <a:ext cx="4041775" cy="801618"/>
          </a:xfrm>
        </p:spPr>
        <p:txBody>
          <a:bodyPr anchor="b"/>
          <a:lstStyle>
            <a:lvl1pPr marL="0" indent="0" algn="ctr">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946787"/>
            <a:ext cx="4041775" cy="4179376"/>
          </a:xfrm>
        </p:spPr>
        <p:txBody>
          <a:bodyPr/>
          <a:lstStyle>
            <a:lvl1pPr>
              <a:defRPr sz="1800"/>
            </a:lvl1pPr>
            <a:lvl2pPr>
              <a:defRPr sz="1600"/>
            </a:lvl2pPr>
            <a:lvl3pPr>
              <a:defRPr sz="1400"/>
            </a:lvl3pPr>
            <a:lvl4pPr>
              <a:defRPr sz="1200"/>
            </a:lvl4pPr>
            <a:lvl5pPr>
              <a:defRPr sz="1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089891" y="269875"/>
            <a:ext cx="7592677" cy="662036"/>
          </a:xfrm>
        </p:spPr>
        <p:txBody>
          <a:bodyPr/>
          <a:lstStyle>
            <a:lvl1pPr>
              <a:defRPr sz="2000"/>
            </a:lvl1pPr>
          </a:lstStyle>
          <a:p>
            <a:r>
              <a:rPr lang="en-US" dirty="0" smtClean="0"/>
              <a:t>Click to edit Master title style</a:t>
            </a:r>
            <a:endParaRPr lang="en-US" dirty="0"/>
          </a:p>
        </p:txBody>
      </p:sp>
    </p:spTree>
    <p:extLst>
      <p:ext uri="{BB962C8B-B14F-4D97-AF65-F5344CB8AC3E}">
        <p14:creationId xmlns:p14="http://schemas.microsoft.com/office/powerpoint/2010/main" val="181808458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65"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47"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4"/>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124"/>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147775228"/>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7"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3"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7"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3"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65"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124"/>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61127459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3"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7"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65"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124"/>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456788151"/>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65"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124"/>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116077285"/>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nvPr>
        </p:nvGraphicFramePr>
        <p:xfrm>
          <a:off x="1619" y="1607"/>
          <a:ext cx="1587" cy="1587"/>
        </p:xfrm>
        <a:graphic>
          <a:graphicData uri="http://schemas.openxmlformats.org/presentationml/2006/ole">
            <mc:AlternateContent xmlns:mc="http://schemas.openxmlformats.org/markup-compatibility/2006">
              <mc:Choice xmlns:v="urn:schemas-microsoft-com:vml" Requires="v">
                <p:oleObj spid="_x0000_s2223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19" y="1607"/>
                        <a:ext cx="1587" cy="1587"/>
                      </a:xfrm>
                      <a:prstGeom prst="rect">
                        <a:avLst/>
                      </a:prstGeom>
                    </p:spPr>
                  </p:pic>
                </p:oleObj>
              </mc:Fallback>
            </mc:AlternateContent>
          </a:graphicData>
        </a:graphic>
      </p:graphicFrame>
    </p:spTree>
    <p:extLst>
      <p:ext uri="{BB962C8B-B14F-4D97-AF65-F5344CB8AC3E}">
        <p14:creationId xmlns:p14="http://schemas.microsoft.com/office/powerpoint/2010/main" val="2062920558"/>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696161"/>
            <a:ext cx="7772400" cy="338554"/>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smtClean="0"/>
              <a:t>Click to edit Master subtitle style</a:t>
            </a:r>
            <a:endParaRPr lang="en-GB"/>
          </a:p>
        </p:txBody>
      </p:sp>
    </p:spTree>
    <p:extLst>
      <p:ext uri="{BB962C8B-B14F-4D97-AF65-F5344CB8AC3E}">
        <p14:creationId xmlns:p14="http://schemas.microsoft.com/office/powerpoint/2010/main" val="158565663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27089747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22005700"/>
              </p:ex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51847" name="think-cell Slide" r:id="rId4" imgW="360" imgH="360" progId="TCLayout.ActiveDocument.1">
                  <p:embed/>
                </p:oleObj>
              </mc:Choice>
              <mc:Fallback>
                <p:oleObj name="think-cell Slide" r:id="rId4" imgW="360" imgH="360" progId="TCLayout.ActiveDocument.1">
                  <p:embed/>
                  <p:pic>
                    <p:nvPicPr>
                      <p:cNvPr id="0" name="Picture 1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a:xfrm>
            <a:off x="-1871296" y="80963"/>
            <a:ext cx="631581" cy="9001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0 </a:t>
            </a:r>
          </a:p>
          <a:p>
            <a:pPr algn="ctr" fontAlgn="auto">
              <a:spcBef>
                <a:spcPts val="0"/>
              </a:spcBef>
              <a:spcAft>
                <a:spcPts val="0"/>
              </a:spcAft>
              <a:defRPr/>
            </a:pPr>
            <a:r>
              <a:rPr lang="en-GB" sz="1400" dirty="0"/>
              <a:t>32</a:t>
            </a:r>
          </a:p>
          <a:p>
            <a:pPr algn="ctr" fontAlgn="auto">
              <a:spcBef>
                <a:spcPts val="0"/>
              </a:spcBef>
              <a:spcAft>
                <a:spcPts val="0"/>
              </a:spcAft>
              <a:defRPr/>
            </a:pPr>
            <a:r>
              <a:rPr lang="en-GB" sz="1400" dirty="0"/>
              <a:t>96</a:t>
            </a:r>
          </a:p>
        </p:txBody>
      </p:sp>
      <p:sp>
        <p:nvSpPr>
          <p:cNvPr id="7" name="Rectangle 6"/>
          <p:cNvSpPr/>
          <p:nvPr userDrawn="1"/>
        </p:nvSpPr>
        <p:spPr>
          <a:xfrm>
            <a:off x="-1871296" y="1103313"/>
            <a:ext cx="631581" cy="900112"/>
          </a:xfrm>
          <a:prstGeom prst="rect">
            <a:avLst/>
          </a:prstGeom>
          <a:solidFill>
            <a:srgbClr val="A0BC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160</a:t>
            </a:r>
          </a:p>
          <a:p>
            <a:pPr algn="ctr" fontAlgn="auto">
              <a:spcBef>
                <a:spcPts val="0"/>
              </a:spcBef>
              <a:spcAft>
                <a:spcPts val="0"/>
              </a:spcAft>
              <a:defRPr/>
            </a:pPr>
            <a:r>
              <a:rPr lang="en-GB" sz="1400" dirty="0"/>
              <a:t>188</a:t>
            </a:r>
          </a:p>
          <a:p>
            <a:pPr algn="ctr" fontAlgn="auto">
              <a:spcBef>
                <a:spcPts val="0"/>
              </a:spcBef>
              <a:spcAft>
                <a:spcPts val="0"/>
              </a:spcAft>
              <a:defRPr/>
            </a:pPr>
            <a:r>
              <a:rPr lang="en-GB" sz="1400" dirty="0"/>
              <a:t>254</a:t>
            </a:r>
          </a:p>
        </p:txBody>
      </p:sp>
      <p:sp>
        <p:nvSpPr>
          <p:cNvPr id="8" name="Rectangle 7"/>
          <p:cNvSpPr/>
          <p:nvPr userDrawn="1"/>
        </p:nvSpPr>
        <p:spPr>
          <a:xfrm>
            <a:off x="-1871296" y="2125663"/>
            <a:ext cx="631581" cy="900112"/>
          </a:xfrm>
          <a:prstGeom prst="rect">
            <a:avLst/>
          </a:prstGeom>
          <a:solidFill>
            <a:srgbClr val="D9660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217</a:t>
            </a:r>
          </a:p>
          <a:p>
            <a:pPr algn="ctr" fontAlgn="auto">
              <a:spcBef>
                <a:spcPts val="0"/>
              </a:spcBef>
              <a:spcAft>
                <a:spcPts val="0"/>
              </a:spcAft>
              <a:defRPr/>
            </a:pPr>
            <a:r>
              <a:rPr lang="en-GB" sz="1400" dirty="0"/>
              <a:t>102</a:t>
            </a:r>
          </a:p>
          <a:p>
            <a:pPr algn="ctr" fontAlgn="auto">
              <a:spcBef>
                <a:spcPts val="0"/>
              </a:spcBef>
              <a:spcAft>
                <a:spcPts val="0"/>
              </a:spcAft>
              <a:defRPr/>
            </a:pPr>
            <a:r>
              <a:rPr lang="en-GB" sz="1400" dirty="0"/>
              <a:t>8</a:t>
            </a:r>
          </a:p>
        </p:txBody>
      </p:sp>
      <p:sp>
        <p:nvSpPr>
          <p:cNvPr id="9" name="Rectangle 8"/>
          <p:cNvSpPr/>
          <p:nvPr userDrawn="1"/>
        </p:nvSpPr>
        <p:spPr>
          <a:xfrm>
            <a:off x="-1871296" y="3148013"/>
            <a:ext cx="631581" cy="900112"/>
          </a:xfrm>
          <a:prstGeom prst="rect">
            <a:avLst/>
          </a:prstGeom>
          <a:solidFill>
            <a:srgbClr val="99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153</a:t>
            </a:r>
          </a:p>
          <a:p>
            <a:pPr algn="ctr" fontAlgn="auto">
              <a:spcBef>
                <a:spcPts val="0"/>
              </a:spcBef>
              <a:spcAft>
                <a:spcPts val="0"/>
              </a:spcAft>
              <a:defRPr/>
            </a:pPr>
            <a:r>
              <a:rPr lang="en-GB" sz="1400" dirty="0"/>
              <a:t>51</a:t>
            </a:r>
          </a:p>
          <a:p>
            <a:pPr algn="ctr" fontAlgn="auto">
              <a:spcBef>
                <a:spcPts val="0"/>
              </a:spcBef>
              <a:spcAft>
                <a:spcPts val="0"/>
              </a:spcAft>
              <a:defRPr/>
            </a:pPr>
            <a:r>
              <a:rPr lang="en-GB" sz="1400" dirty="0"/>
              <a:t>0</a:t>
            </a:r>
          </a:p>
        </p:txBody>
      </p:sp>
      <p:sp>
        <p:nvSpPr>
          <p:cNvPr id="10" name="Rectangle 9"/>
          <p:cNvSpPr/>
          <p:nvPr userDrawn="1"/>
        </p:nvSpPr>
        <p:spPr>
          <a:xfrm>
            <a:off x="-1871296" y="4170363"/>
            <a:ext cx="631581" cy="900112"/>
          </a:xfrm>
          <a:prstGeom prst="rect">
            <a:avLst/>
          </a:prstGeom>
          <a:solidFill>
            <a:srgbClr val="F3F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243</a:t>
            </a:r>
          </a:p>
          <a:p>
            <a:pPr algn="ctr" fontAlgn="auto">
              <a:spcBef>
                <a:spcPts val="0"/>
              </a:spcBef>
              <a:spcAft>
                <a:spcPts val="0"/>
              </a:spcAft>
              <a:defRPr/>
            </a:pPr>
            <a:r>
              <a:rPr lang="en-GB" sz="1400" dirty="0"/>
              <a:t>243</a:t>
            </a:r>
          </a:p>
          <a:p>
            <a:pPr algn="ctr" fontAlgn="auto">
              <a:spcBef>
                <a:spcPts val="0"/>
              </a:spcBef>
              <a:spcAft>
                <a:spcPts val="0"/>
              </a:spcAft>
              <a:defRPr/>
            </a:pPr>
            <a:r>
              <a:rPr lang="en-GB" sz="1400" dirty="0"/>
              <a:t>0</a:t>
            </a:r>
          </a:p>
        </p:txBody>
      </p:sp>
      <p:sp>
        <p:nvSpPr>
          <p:cNvPr id="11" name="Rectangle 10"/>
          <p:cNvSpPr/>
          <p:nvPr userDrawn="1"/>
        </p:nvSpPr>
        <p:spPr>
          <a:xfrm>
            <a:off x="-1883019" y="5192713"/>
            <a:ext cx="631581" cy="900112"/>
          </a:xfrm>
          <a:prstGeom prst="rect">
            <a:avLst/>
          </a:prstGeom>
          <a:solidFill>
            <a:srgbClr val="00F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0</a:t>
            </a:r>
          </a:p>
          <a:p>
            <a:pPr algn="ctr" fontAlgn="auto">
              <a:spcBef>
                <a:spcPts val="0"/>
              </a:spcBef>
              <a:spcAft>
                <a:spcPts val="0"/>
              </a:spcAft>
              <a:defRPr/>
            </a:pPr>
            <a:r>
              <a:rPr lang="en-GB" sz="1400" dirty="0"/>
              <a:t>243</a:t>
            </a:r>
          </a:p>
          <a:p>
            <a:pPr algn="ctr" fontAlgn="auto">
              <a:spcBef>
                <a:spcPts val="0"/>
              </a:spcBef>
              <a:spcAft>
                <a:spcPts val="0"/>
              </a:spcAft>
              <a:defRPr/>
            </a:pPr>
            <a:r>
              <a:rPr lang="en-GB" sz="1400" dirty="0"/>
              <a:t>0</a:t>
            </a:r>
          </a:p>
        </p:txBody>
      </p:sp>
      <p:sp>
        <p:nvSpPr>
          <p:cNvPr id="12" name="Rectangle 11"/>
          <p:cNvSpPr/>
          <p:nvPr userDrawn="1"/>
        </p:nvSpPr>
        <p:spPr>
          <a:xfrm>
            <a:off x="-978877" y="1089026"/>
            <a:ext cx="631580" cy="900113"/>
          </a:xfrm>
          <a:prstGeom prst="rect">
            <a:avLst/>
          </a:prstGeom>
          <a:solidFill>
            <a:srgbClr val="D5E2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100" dirty="0"/>
              <a:t>Text boxes</a:t>
            </a:r>
          </a:p>
          <a:p>
            <a:pPr algn="ctr" fontAlgn="auto">
              <a:spcBef>
                <a:spcPts val="0"/>
              </a:spcBef>
              <a:spcAft>
                <a:spcPts val="0"/>
              </a:spcAft>
              <a:defRPr/>
            </a:pPr>
            <a:r>
              <a:rPr lang="en-GB" sz="1100" dirty="0"/>
              <a:t>213</a:t>
            </a:r>
          </a:p>
          <a:p>
            <a:pPr algn="ctr" fontAlgn="auto">
              <a:spcBef>
                <a:spcPts val="0"/>
              </a:spcBef>
              <a:spcAft>
                <a:spcPts val="0"/>
              </a:spcAft>
              <a:defRPr/>
            </a:pPr>
            <a:r>
              <a:rPr lang="en-GB" sz="1100" dirty="0"/>
              <a:t>226</a:t>
            </a:r>
          </a:p>
          <a:p>
            <a:pPr algn="ctr" fontAlgn="auto">
              <a:spcBef>
                <a:spcPts val="0"/>
              </a:spcBef>
              <a:spcAft>
                <a:spcPts val="0"/>
              </a:spcAft>
              <a:defRPr/>
            </a:pPr>
            <a:r>
              <a:rPr lang="en-GB" sz="1100" dirty="0"/>
              <a:t>255</a:t>
            </a:r>
          </a:p>
        </p:txBody>
      </p:sp>
      <p:sp>
        <p:nvSpPr>
          <p:cNvPr id="13" name="Rectangle 12"/>
          <p:cNvSpPr/>
          <p:nvPr userDrawn="1"/>
        </p:nvSpPr>
        <p:spPr>
          <a:xfrm>
            <a:off x="-978877" y="2092326"/>
            <a:ext cx="631580" cy="90011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Lines</a:t>
            </a:r>
          </a:p>
          <a:p>
            <a:pPr algn="ctr" fontAlgn="auto">
              <a:spcBef>
                <a:spcPts val="0"/>
              </a:spcBef>
              <a:spcAft>
                <a:spcPts val="0"/>
              </a:spcAft>
              <a:defRPr/>
            </a:pPr>
            <a:r>
              <a:rPr lang="en-GB" sz="1400" dirty="0"/>
              <a:t>127</a:t>
            </a:r>
          </a:p>
          <a:p>
            <a:pPr algn="ctr" fontAlgn="auto">
              <a:spcBef>
                <a:spcPts val="0"/>
              </a:spcBef>
              <a:spcAft>
                <a:spcPts val="0"/>
              </a:spcAft>
              <a:defRPr/>
            </a:pPr>
            <a:r>
              <a:rPr lang="en-GB" sz="1400" dirty="0"/>
              <a:t>127</a:t>
            </a:r>
          </a:p>
          <a:p>
            <a:pPr algn="ctr" fontAlgn="auto">
              <a:spcBef>
                <a:spcPts val="0"/>
              </a:spcBef>
              <a:spcAft>
                <a:spcPts val="0"/>
              </a:spcAft>
              <a:defRPr/>
            </a:pPr>
            <a:r>
              <a:rPr lang="en-GB" sz="1400" dirty="0"/>
              <a:t>127</a:t>
            </a:r>
          </a:p>
        </p:txBody>
      </p:sp>
      <p:sp>
        <p:nvSpPr>
          <p:cNvPr id="14" name="Rectangle 13"/>
          <p:cNvSpPr/>
          <p:nvPr userDrawn="1"/>
        </p:nvSpPr>
        <p:spPr>
          <a:xfrm>
            <a:off x="-978877" y="80963"/>
            <a:ext cx="631580" cy="90011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GB" sz="1400" dirty="0"/>
              <a:t>0 </a:t>
            </a:r>
          </a:p>
          <a:p>
            <a:pPr algn="ctr" fontAlgn="auto">
              <a:spcBef>
                <a:spcPts val="0"/>
              </a:spcBef>
              <a:spcAft>
                <a:spcPts val="0"/>
              </a:spcAft>
              <a:defRPr/>
            </a:pPr>
            <a:r>
              <a:rPr lang="en-GB" sz="1400" dirty="0"/>
              <a:t>32</a:t>
            </a:r>
          </a:p>
          <a:p>
            <a:pPr algn="ctr" fontAlgn="auto">
              <a:spcBef>
                <a:spcPts val="0"/>
              </a:spcBef>
              <a:spcAft>
                <a:spcPts val="0"/>
              </a:spcAft>
              <a:defRPr/>
            </a:pPr>
            <a:r>
              <a:rPr lang="en-GB" sz="1400" dirty="0"/>
              <a:t>96</a:t>
            </a: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8376429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405516663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325661994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10368958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42273433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61321492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88919159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6" name="Rectangle 38"/>
          <p:cNvSpPr>
            <a:spLocks noChangeArrowheads="1"/>
          </p:cNvSpPr>
          <p:nvPr/>
        </p:nvSpPr>
        <p:spPr bwMode="auto">
          <a:xfrm>
            <a:off x="1541472" y="4586337"/>
            <a:ext cx="184731" cy="461665"/>
          </a:xfrm>
          <a:prstGeom prst="rect">
            <a:avLst/>
          </a:prstGeom>
          <a:noFill/>
          <a:ln w="9525">
            <a:noFill/>
            <a:miter lim="800000"/>
            <a:headEnd/>
            <a:tailEnd/>
          </a:ln>
          <a:effectLst/>
        </p:spPr>
        <p:txBody>
          <a:bodyPr wrap="none">
            <a:prstTxWarp prst="textNoShape">
              <a:avLst/>
            </a:prstTxWarp>
            <a:spAutoFit/>
          </a:bodyPr>
          <a:lstStyle/>
          <a:p>
            <a:pPr>
              <a:defRPr/>
            </a:pPr>
            <a:endParaRPr lang="en-US" sz="2400">
              <a:latin typeface="Arial" pitchFamily="27" charset="0"/>
              <a:ea typeface="Arial Unicode MS" pitchFamily="-109" charset="0"/>
              <a:cs typeface="Arial Unicode MS" pitchFamily="-109" charset="0"/>
            </a:endParaRPr>
          </a:p>
        </p:txBody>
      </p:sp>
      <p:sp>
        <p:nvSpPr>
          <p:cNvPr id="15362" name="Rectangle 2"/>
          <p:cNvSpPr>
            <a:spLocks noGrp="1" noChangeArrowheads="1"/>
          </p:cNvSpPr>
          <p:nvPr>
            <p:ph type="ctrTitle"/>
          </p:nvPr>
        </p:nvSpPr>
        <p:spPr>
          <a:xfrm>
            <a:off x="309564" y="2947057"/>
            <a:ext cx="8434387" cy="656568"/>
          </a:xfrm>
        </p:spPr>
        <p:txBody>
          <a:bodyPr anchor="b"/>
          <a:lstStyle>
            <a:lvl1pPr algn="l" rtl="0" eaLnBrk="0" fontAlgn="base" hangingPunct="0">
              <a:spcBef>
                <a:spcPct val="0"/>
              </a:spcBef>
              <a:spcAft>
                <a:spcPct val="0"/>
              </a:spcAft>
              <a:defRPr lang="en-US" altLang="zh-TW" sz="5000" kern="1200" dirty="0">
                <a:solidFill>
                  <a:srgbClr val="1F497D"/>
                </a:solidFill>
                <a:latin typeface="+mn-lt"/>
                <a:ea typeface="Arial Unicode MS" charset="0"/>
                <a:cs typeface="CMCatalogue-Light"/>
              </a:defRPr>
            </a:lvl1pPr>
          </a:lstStyle>
          <a:p>
            <a:r>
              <a:rPr lang="en-US" altLang="zh-TW" dirty="0" smtClean="0"/>
              <a:t>Click </a:t>
            </a:r>
            <a:r>
              <a:rPr lang="en-US" altLang="zh-TW" dirty="0"/>
              <a:t>to edit Master title style</a:t>
            </a:r>
          </a:p>
        </p:txBody>
      </p:sp>
      <p:sp>
        <p:nvSpPr>
          <p:cNvPr id="9" name="Rectangle 3"/>
          <p:cNvSpPr>
            <a:spLocks noGrp="1" noChangeArrowheads="1"/>
          </p:cNvSpPr>
          <p:nvPr>
            <p:ph type="subTitle" idx="1"/>
          </p:nvPr>
        </p:nvSpPr>
        <p:spPr>
          <a:xfrm>
            <a:off x="318466" y="3644103"/>
            <a:ext cx="7086600" cy="588946"/>
          </a:xfrm>
        </p:spPr>
        <p:txBody>
          <a:bodyPr/>
          <a:lstStyle>
            <a:lvl1pPr marL="0" indent="0" algn="l" rtl="0" eaLnBrk="0" fontAlgn="base" hangingPunct="0">
              <a:spcBef>
                <a:spcPct val="0"/>
              </a:spcBef>
              <a:spcAft>
                <a:spcPct val="0"/>
              </a:spcAft>
              <a:buFontTx/>
              <a:buNone/>
              <a:defRPr lang="en-US" altLang="zh-TW" sz="3000" kern="1200" dirty="0">
                <a:solidFill>
                  <a:srgbClr val="4F81BD"/>
                </a:solidFill>
                <a:latin typeface="+mn-lt"/>
                <a:ea typeface="Arial Unicode MS" charset="0"/>
                <a:cs typeface="CMCatalogue-Light"/>
              </a:defRPr>
            </a:lvl1pPr>
          </a:lstStyle>
          <a:p>
            <a:r>
              <a:rPr lang="en-US" altLang="zh-TW" dirty="0"/>
              <a:t>Click to edit Master subtitle style</a:t>
            </a:r>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8980102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317000271"/>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1445913237"/>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4179407207"/>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18867715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29861137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226181491"/>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26402725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9434655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74276900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137118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22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1080655" y="269875"/>
            <a:ext cx="7601383" cy="661988"/>
          </a:xfrm>
        </p:spPr>
        <p:txBody>
          <a:bodyPr/>
          <a:lstStyle>
            <a:lvl1pPr>
              <a:defRPr sz="20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1800">
                <a:solidFill>
                  <a:srgbClr val="4F81BD"/>
                </a:solidFill>
              </a:defRPr>
            </a:lvl1pPr>
            <a:lvl2pPr>
              <a:defRPr sz="2000"/>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273796441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9243730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467375432"/>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90970493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509508159"/>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79727288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25853783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1540913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317840764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1946336101"/>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7" y="0"/>
            <a:ext cx="9108281" cy="6858000"/>
          </a:xfrm>
          <a:prstGeom prst="rect">
            <a:avLst/>
          </a:prstGeom>
        </p:spPr>
      </p:pic>
      <p:sp>
        <p:nvSpPr>
          <p:cNvPr id="4" name="Rectangle 38"/>
          <p:cNvSpPr>
            <a:spLocks noChangeArrowheads="1"/>
          </p:cNvSpPr>
          <p:nvPr/>
        </p:nvSpPr>
        <p:spPr bwMode="auto">
          <a:xfrm>
            <a:off x="1541472" y="4586337"/>
            <a:ext cx="184731" cy="461665"/>
          </a:xfrm>
          <a:prstGeom prst="rect">
            <a:avLst/>
          </a:prstGeom>
          <a:noFill/>
          <a:ln w="9525">
            <a:noFill/>
            <a:miter lim="800000"/>
            <a:headEnd/>
            <a:tailEnd/>
          </a:ln>
          <a:effectLst/>
        </p:spPr>
        <p:txBody>
          <a:bodyPr wrap="none">
            <a:prstTxWarp prst="textNoShape">
              <a:avLst/>
            </a:prstTxWarp>
            <a:spAutoFit/>
          </a:bodyPr>
          <a:lstStyle/>
          <a:p>
            <a:pPr>
              <a:defRPr/>
            </a:pPr>
            <a:endParaRPr lang="en-US" sz="2400">
              <a:latin typeface="Arial" pitchFamily="27" charset="0"/>
              <a:ea typeface="Arial Unicode MS" pitchFamily="-109" charset="0"/>
              <a:cs typeface="Arial Unicode MS" pitchFamily="-109" charset="0"/>
            </a:endParaRPr>
          </a:p>
        </p:txBody>
      </p:sp>
      <p:sp>
        <p:nvSpPr>
          <p:cNvPr id="15362" name="Rectangle 2"/>
          <p:cNvSpPr>
            <a:spLocks noGrp="1" noChangeArrowheads="1"/>
          </p:cNvSpPr>
          <p:nvPr>
            <p:ph type="ctrTitle"/>
          </p:nvPr>
        </p:nvSpPr>
        <p:spPr>
          <a:xfrm>
            <a:off x="354813" y="859920"/>
            <a:ext cx="8434387" cy="5559273"/>
          </a:xfrm>
        </p:spPr>
        <p:txBody>
          <a:bodyPr/>
          <a:lstStyle>
            <a:lvl1pPr algn="ctr">
              <a:defRPr sz="5000">
                <a:solidFill>
                  <a:srgbClr val="4F81BD"/>
                </a:solidFill>
                <a:latin typeface="+mn-lt"/>
                <a:cs typeface="Arial Black"/>
              </a:defRPr>
            </a:lvl1pPr>
          </a:lstStyle>
          <a:p>
            <a:r>
              <a:rPr lang="en-US" altLang="zh-TW" dirty="0" smtClean="0"/>
              <a:t>Click to edit Master title style</a:t>
            </a:r>
            <a:endParaRPr lang="en-US" altLang="zh-TW" dirty="0"/>
          </a:p>
        </p:txBody>
      </p:sp>
      <p:pic>
        <p:nvPicPr>
          <p:cNvPr id="7" name="Picture 9"/>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7096504" y="6148087"/>
            <a:ext cx="1900854" cy="796772"/>
          </a:xfrm>
          <a:prstGeom prst="rect">
            <a:avLst/>
          </a:prstGeom>
        </p:spPr>
      </p:pic>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46307080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018437319"/>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20265354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12476138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697065266"/>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36257672"/>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3982581404"/>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85255591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33377060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74354496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64828" y="1095375"/>
            <a:ext cx="4037012" cy="4942788"/>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54265" y="1095375"/>
            <a:ext cx="4037013" cy="4942788"/>
          </a:xfrm>
        </p:spPr>
        <p:txBody>
          <a:bodyPr/>
          <a:lstStyle>
            <a:lvl1pPr>
              <a:defRPr sz="1800"/>
            </a:lvl1pPr>
            <a:lvl2pPr>
              <a:defRPr sz="1600"/>
            </a:lvl2pPr>
            <a:lvl3pPr>
              <a:defRPr sz="1400"/>
            </a:lvl3pPr>
            <a:lvl4pPr>
              <a:defRPr sz="1200"/>
            </a:lvl4pPr>
            <a:lvl5pPr>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1"/>
          <p:cNvSpPr>
            <a:spLocks noGrp="1"/>
          </p:cNvSpPr>
          <p:nvPr>
            <p:ph type="title"/>
          </p:nvPr>
        </p:nvSpPr>
        <p:spPr>
          <a:xfrm>
            <a:off x="1099152" y="269875"/>
            <a:ext cx="7583441" cy="662036"/>
          </a:xfrm>
        </p:spPr>
        <p:txBody>
          <a:bodyPr/>
          <a:lstStyle>
            <a:lvl1pPr>
              <a:defRPr sz="2000"/>
            </a:lvl1pPr>
          </a:lstStyle>
          <a:p>
            <a:r>
              <a:rPr lang="en-US" dirty="0" smtClean="0"/>
              <a:t>Click to edit Master title styl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59041654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185036756"/>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13653868"/>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887496145"/>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238514487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28385543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393831666"/>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86220407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62311985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5286306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124349"/>
            <a:ext cx="4040188" cy="801618"/>
          </a:xfrm>
        </p:spPr>
        <p:txBody>
          <a:bodyPr anchor="b"/>
          <a:lstStyle>
            <a:lvl1pPr marL="0" indent="0" algn="ctr">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946787"/>
            <a:ext cx="4040188" cy="4179376"/>
          </a:xfrm>
        </p:spPr>
        <p:txBody>
          <a:bodyPr/>
          <a:lstStyle>
            <a:lvl1pPr>
              <a:defRPr sz="1800"/>
            </a:lvl1pPr>
            <a:lvl2pPr>
              <a:defRPr sz="1600"/>
            </a:lvl2pPr>
            <a:lvl3pPr>
              <a:defRPr sz="1400"/>
            </a:lvl3pPr>
            <a:lvl4pPr>
              <a:defRPr sz="1200"/>
            </a:lvl4pPr>
            <a:lvl5pPr>
              <a:defRPr sz="1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124349"/>
            <a:ext cx="4041775" cy="801618"/>
          </a:xfrm>
        </p:spPr>
        <p:txBody>
          <a:bodyPr anchor="b"/>
          <a:lstStyle>
            <a:lvl1pPr marL="0" indent="0" algn="ctr">
              <a:buNone/>
              <a:defRPr sz="1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1946787"/>
            <a:ext cx="4041775" cy="4179376"/>
          </a:xfrm>
        </p:spPr>
        <p:txBody>
          <a:bodyPr/>
          <a:lstStyle>
            <a:lvl1pPr>
              <a:defRPr sz="1800"/>
            </a:lvl1pPr>
            <a:lvl2pPr>
              <a:defRPr sz="1600"/>
            </a:lvl2pPr>
            <a:lvl3pPr>
              <a:defRPr sz="1400"/>
            </a:lvl3pPr>
            <a:lvl4pPr>
              <a:defRPr sz="1200"/>
            </a:lvl4pPr>
            <a:lvl5pPr>
              <a:defRPr sz="10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itle 1"/>
          <p:cNvSpPr>
            <a:spLocks noGrp="1"/>
          </p:cNvSpPr>
          <p:nvPr>
            <p:ph type="title"/>
          </p:nvPr>
        </p:nvSpPr>
        <p:spPr>
          <a:xfrm>
            <a:off x="1108364" y="269875"/>
            <a:ext cx="7574204" cy="662036"/>
          </a:xfrm>
        </p:spPr>
        <p:txBody>
          <a:bodyPr/>
          <a:lstStyle>
            <a:lvl1pPr>
              <a:defRPr sz="2000"/>
            </a:lvl1pPr>
          </a:lstStyle>
          <a:p>
            <a:r>
              <a:rPr lang="en-US" dirty="0" smtClean="0"/>
              <a:t>Click to edit Master title style</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46422553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87815882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211527316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312353636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2843259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5747169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17955437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71659610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49531014"/>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3933970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000"/>
            </a:lvl1pPr>
          </a:lstStyle>
          <a:p>
            <a:r>
              <a:rPr lang="en-US" dirty="0" smtClean="0"/>
              <a:t>Click to edit Master title style</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nvPr>
        </p:nvGraphicFramePr>
        <p:xfrm>
          <a:off x="1596" y="1601"/>
          <a:ext cx="1587" cy="1587"/>
        </p:xfrm>
        <a:graphic>
          <a:graphicData uri="http://schemas.openxmlformats.org/presentationml/2006/ole">
            <mc:AlternateContent xmlns:mc="http://schemas.openxmlformats.org/markup-compatibility/2006">
              <mc:Choice xmlns:v="urn:schemas-microsoft-com:vml" Requires="v">
                <p:oleObj spid="_x0000_s1772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6" y="1601"/>
                        <a:ext cx="1587" cy="1587"/>
                      </a:xfrm>
                      <a:prstGeom prst="rect">
                        <a:avLst/>
                      </a:prstGeom>
                    </p:spPr>
                  </p:pic>
                </p:oleObj>
              </mc:Fallback>
            </mc:AlternateContent>
          </a:graphicData>
        </a:graphic>
      </p:graphicFrame>
    </p:spTree>
    <p:extLst>
      <p:ext uri="{BB962C8B-B14F-4D97-AF65-F5344CB8AC3E}">
        <p14:creationId xmlns:p14="http://schemas.microsoft.com/office/powerpoint/2010/main" val="262927310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96" y="1601"/>
          <a:ext cx="1587" cy="1587"/>
        </p:xfrm>
        <a:graphic>
          <a:graphicData uri="http://schemas.openxmlformats.org/presentationml/2006/ole">
            <mc:AlternateContent xmlns:mc="http://schemas.openxmlformats.org/markup-compatibility/2006">
              <mc:Choice xmlns:v="urn:schemas-microsoft-com:vml" Requires="v">
                <p:oleObj spid="_x0000_s1783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6" y="1601"/>
                        <a:ext cx="1587" cy="1587"/>
                      </a:xfrm>
                      <a:prstGeom prst="rect">
                        <a:avLst/>
                      </a:prstGeom>
                    </p:spPr>
                  </p:pic>
                </p:oleObj>
              </mc:Fallback>
            </mc:AlternateContent>
          </a:graphicData>
        </a:graphic>
      </p:graphicFrame>
      <p:sp>
        <p:nvSpPr>
          <p:cNvPr id="2" name="Title 1"/>
          <p:cNvSpPr>
            <a:spLocks noGrp="1"/>
          </p:cNvSpPr>
          <p:nvPr>
            <p:ph type="title"/>
          </p:nvPr>
        </p:nvSpPr>
        <p:spPr>
          <a:xfrm>
            <a:off x="832338" y="382674"/>
            <a:ext cx="8077201" cy="284052"/>
          </a:xfrm>
        </p:spPr>
        <p:txBody>
          <a:bodyPr/>
          <a:lstStyle>
            <a:lvl1pPr>
              <a:defRPr sz="1846"/>
            </a:lvl1pPr>
          </a:lstStyle>
          <a:p>
            <a:r>
              <a:rPr lang="en-US" dirty="0" smtClean="0"/>
              <a:t>Click to edit Master title style</a:t>
            </a:r>
            <a:endParaRPr lang="en-US" dirty="0"/>
          </a:p>
        </p:txBody>
      </p:sp>
    </p:spTree>
    <p:extLst>
      <p:ext uri="{BB962C8B-B14F-4D97-AF65-F5344CB8AC3E}">
        <p14:creationId xmlns:p14="http://schemas.microsoft.com/office/powerpoint/2010/main" val="74820064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279820090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538490676"/>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331564968"/>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18956824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594854705"/>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9990309"/>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91504967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03154072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ext uri="{D42A27DB-BD31-4B8C-83A1-F6EECF244321}">
                <p14:modId xmlns:p14="http://schemas.microsoft.com/office/powerpoint/2010/main" val="296284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4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nvPr>
        </p:nvGraphicFramePr>
        <p:xfrm>
          <a:off x="1596" y="1601"/>
          <a:ext cx="1587" cy="1587"/>
        </p:xfrm>
        <a:graphic>
          <a:graphicData uri="http://schemas.openxmlformats.org/presentationml/2006/ole">
            <mc:AlternateContent xmlns:mc="http://schemas.openxmlformats.org/markup-compatibility/2006">
              <mc:Choice xmlns:v="urn:schemas-microsoft-com:vml" Requires="v">
                <p:oleObj spid="_x0000_s1936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6" y="1601"/>
                        <a:ext cx="1587" cy="1587"/>
                      </a:xfrm>
                      <a:prstGeom prst="rect">
                        <a:avLst/>
                      </a:prstGeom>
                    </p:spPr>
                  </p:pic>
                </p:oleObj>
              </mc:Fallback>
            </mc:AlternateContent>
          </a:graphicData>
        </a:graphic>
      </p:graphicFrame>
    </p:spTree>
    <p:extLst>
      <p:ext uri="{BB962C8B-B14F-4D97-AF65-F5344CB8AC3E}">
        <p14:creationId xmlns:p14="http://schemas.microsoft.com/office/powerpoint/2010/main" val="286290053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4173097995"/>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2463520809"/>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837608011"/>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14190948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289915447"/>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059937598"/>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697291128"/>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181823491"/>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2" name="Αντικείμενο 1" hidden="1"/>
          <p:cNvGraphicFramePr>
            <a:graphicFrameLocks noChangeAspect="1"/>
          </p:cNvGraphicFramePr>
          <p:nvPr userDrawn="1">
            <p:custDataLst>
              <p:tags r:id="rId2"/>
            </p:custDataLst>
            <p:extLst/>
          </p:nvPr>
        </p:nvGraphicFramePr>
        <p:xfrm>
          <a:off x="1596" y="1601"/>
          <a:ext cx="1587" cy="1587"/>
        </p:xfrm>
        <a:graphic>
          <a:graphicData uri="http://schemas.openxmlformats.org/presentationml/2006/ole">
            <mc:AlternateContent xmlns:mc="http://schemas.openxmlformats.org/markup-compatibility/2006">
              <mc:Choice xmlns:v="urn:schemas-microsoft-com:vml" Requires="v">
                <p:oleObj spid="_x0000_s1946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6" y="1601"/>
                        <a:ext cx="1587" cy="1587"/>
                      </a:xfrm>
                      <a:prstGeom prst="rect">
                        <a:avLst/>
                      </a:prstGeom>
                    </p:spPr>
                  </p:pic>
                </p:oleObj>
              </mc:Fallback>
            </mc:AlternateContent>
          </a:graphicData>
        </a:graphic>
      </p:graphicFrame>
    </p:spTree>
    <p:extLst>
      <p:ext uri="{BB962C8B-B14F-4D97-AF65-F5344CB8AC3E}">
        <p14:creationId xmlns:p14="http://schemas.microsoft.com/office/powerpoint/2010/main" val="3710914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5" y="273050"/>
            <a:ext cx="3008313" cy="1162050"/>
          </a:xfrm>
        </p:spPr>
        <p:txBody>
          <a:bodyPr anchor="b"/>
          <a:lstStyle>
            <a:lvl1pPr algn="l">
              <a:defRPr sz="2000" b="0">
                <a:solidFill>
                  <a:srgbClr val="1F497D"/>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100"/>
            <a:ext cx="5111750" cy="5853113"/>
          </a:xfrm>
        </p:spPr>
        <p:txBody>
          <a:bodyPr/>
          <a:lstStyle>
            <a:lvl1pPr>
              <a:defRPr sz="18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25"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224273642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3942857522"/>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8510954" cy="5257800"/>
          </a:xfrm>
          <a:prstGeom prst="rect">
            <a:avLst/>
          </a:prstGeom>
        </p:spPr>
        <p:txBody>
          <a:bodyPr lIns="0" tIns="0" rIns="0" bIns="0"/>
          <a:lstStyle>
            <a:lvl1pPr marL="158265" indent="-158265" algn="l">
              <a:buClr>
                <a:schemeClr val="accent1"/>
              </a:buClr>
              <a:buSzPct val="100000"/>
              <a:buFont typeface="Arial" pitchFamily="34" charset="0"/>
              <a:buChar char="•"/>
              <a:defRPr sz="1292" b="0">
                <a:solidFill>
                  <a:schemeClr val="tx1"/>
                </a:solidFill>
                <a:latin typeface="Arial" pitchFamily="34" charset="0"/>
                <a:cs typeface="Arial" pitchFamily="34" charset="0"/>
              </a:defRPr>
            </a:lvl1pPr>
            <a:lvl2pPr marL="316531" indent="-158265" algn="l">
              <a:buClr>
                <a:schemeClr val="accent1"/>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a:p>
            <a:pPr lvl="1"/>
            <a:r>
              <a:rPr lang="en-US" smtClean="0"/>
              <a:t>Second level</a:t>
            </a:r>
          </a:p>
        </p:txBody>
      </p:sp>
      <p:sp>
        <p:nvSpPr>
          <p:cNvPr id="4"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3509665333"/>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Content Placeholder 1"/>
          <p:cNvSpPr>
            <a:spLocks noGrp="1"/>
          </p:cNvSpPr>
          <p:nvPr>
            <p:ph idx="1"/>
          </p:nvPr>
        </p:nvSpPr>
        <p:spPr>
          <a:xfrm>
            <a:off x="422031" y="990600"/>
            <a:ext cx="4079631" cy="5257800"/>
          </a:xfrm>
          <a:prstGeom prst="rect">
            <a:avLst/>
          </a:prstGeom>
        </p:spPr>
        <p:txBody>
          <a:bodyPr lIns="0" tIns="0" rIns="0" bIns="0"/>
          <a:lstStyle>
            <a:lvl1pPr marL="422041" indent="-263776"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158265"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Content Placeholder 1"/>
          <p:cNvSpPr>
            <a:spLocks noGrp="1"/>
          </p:cNvSpPr>
          <p:nvPr>
            <p:ph idx="10"/>
          </p:nvPr>
        </p:nvSpPr>
        <p:spPr>
          <a:xfrm>
            <a:off x="4853355" y="990600"/>
            <a:ext cx="4079631" cy="5257800"/>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5"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1192077348"/>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7" name="Content Placeholder 3"/>
          <p:cNvSpPr>
            <a:spLocks noGrp="1"/>
          </p:cNvSpPr>
          <p:nvPr>
            <p:ph sz="half" idx="2"/>
          </p:nvPr>
        </p:nvSpPr>
        <p:spPr>
          <a:xfrm>
            <a:off x="6188320" y="994316"/>
            <a:ext cx="2744665"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2"/>
          <p:cNvSpPr>
            <a:spLocks noGrp="1"/>
          </p:cNvSpPr>
          <p:nvPr>
            <p:ph sz="half" idx="10"/>
          </p:nvPr>
        </p:nvSpPr>
        <p:spPr>
          <a:xfrm>
            <a:off x="3305175" y="994316"/>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9" name="Content Placeholder 1"/>
          <p:cNvSpPr>
            <a:spLocks noGrp="1"/>
          </p:cNvSpPr>
          <p:nvPr>
            <p:ph sz="half" idx="1"/>
          </p:nvPr>
        </p:nvSpPr>
        <p:spPr>
          <a:xfrm>
            <a:off x="422030" y="990601"/>
            <a:ext cx="2743200" cy="5228063"/>
          </a:xfrm>
          <a:prstGeom prst="rect">
            <a:avLst/>
          </a:prstGeom>
        </p:spPr>
        <p:txBody>
          <a:bodyPr lIns="0" tIns="0" rIns="0" bIns="0"/>
          <a:lstStyle>
            <a:lvl1pPr marL="158265" indent="-158265" algn="l">
              <a:buClr>
                <a:schemeClr val="accent1"/>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chemeClr val="accent1"/>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5154407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Content Placeholder 4"/>
          <p:cNvSpPr>
            <a:spLocks noGrp="1"/>
          </p:cNvSpPr>
          <p:nvPr>
            <p:ph sz="half" idx="11"/>
          </p:nvPr>
        </p:nvSpPr>
        <p:spPr>
          <a:xfrm>
            <a:off x="4853355"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6" name="Content Placeholder 3"/>
          <p:cNvSpPr>
            <a:spLocks noGrp="1"/>
          </p:cNvSpPr>
          <p:nvPr>
            <p:ph sz="half" idx="12"/>
          </p:nvPr>
        </p:nvSpPr>
        <p:spPr>
          <a:xfrm>
            <a:off x="422030" y="3572107"/>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7" name="Content Placeholder 2"/>
          <p:cNvSpPr>
            <a:spLocks noGrp="1"/>
          </p:cNvSpPr>
          <p:nvPr>
            <p:ph sz="half" idx="2"/>
          </p:nvPr>
        </p:nvSpPr>
        <p:spPr>
          <a:xfrm>
            <a:off x="4853355"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8" name="Content Placeholder 1"/>
          <p:cNvSpPr>
            <a:spLocks noGrp="1"/>
          </p:cNvSpPr>
          <p:nvPr>
            <p:ph sz="half" idx="1"/>
          </p:nvPr>
        </p:nvSpPr>
        <p:spPr>
          <a:xfrm>
            <a:off x="422030" y="990600"/>
            <a:ext cx="4079631" cy="2286000"/>
          </a:xfrm>
          <a:prstGeom prst="rect">
            <a:avLst/>
          </a:prstGeom>
        </p:spPr>
        <p:txBody>
          <a:bodyPr lIns="0" tIns="0" rIns="0" bIns="0"/>
          <a:lstStyle>
            <a:lvl1pPr marL="158265" indent="-158265" algn="l">
              <a:buClr>
                <a:srgbClr val="97999B"/>
              </a:buClr>
              <a:buSzPct val="100000"/>
              <a:buFont typeface="Symbol"/>
              <a:buChar char="·"/>
              <a:defRPr lang="en-US" sz="1292" b="0" dirty="0" smtClean="0">
                <a:solidFill>
                  <a:schemeClr val="tx1"/>
                </a:solidFill>
                <a:latin typeface="Arial" pitchFamily="34" charset="0"/>
                <a:ea typeface="+mn-ea"/>
                <a:cs typeface="Arial" pitchFamily="34" charset="0"/>
              </a:defRPr>
            </a:lvl1pPr>
            <a:lvl2pPr marL="316531" indent="-158265" algn="l">
              <a:buClr>
                <a:srgbClr val="97999B"/>
              </a:buClr>
              <a:buSzPct val="100000"/>
              <a:buFont typeface="Arial"/>
              <a:buChar char="–"/>
              <a:defRPr lang="en-US" sz="1292" b="0" dirty="0" smtClean="0">
                <a:solidFill>
                  <a:schemeClr val="tx1"/>
                </a:solidFill>
                <a:latin typeface="Arial" pitchFamily="34" charset="0"/>
                <a:ea typeface="+mn-ea"/>
                <a:cs typeface="Arial" pitchFamily="34" charset="0"/>
              </a:defRPr>
            </a:lvl2pPr>
            <a:lvl3pPr marL="474796"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3pPr>
            <a:lvl4pPr marL="633062"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4pPr>
            <a:lvl5pPr marL="791327" indent="-158265" algn="l">
              <a:buClr>
                <a:srgbClr val="97999B"/>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97999B"/>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97999B"/>
              </a:buClr>
              <a:buSzPct val="100000"/>
              <a:buFont typeface="Wingdings" panose="05000000000000000000" pitchFamily="2" charset="2"/>
              <a:buChar char=""/>
              <a:defRPr sz="1292" b="0">
                <a:solidFill>
                  <a:schemeClr val="tx1"/>
                </a:solidFill>
                <a:latin typeface="Arial" pitchFamily="34" charset="0"/>
                <a:cs typeface="Arial" pitchFamily="34" charset="0"/>
              </a:defRPr>
            </a:lvl7pPr>
            <a:lvl8pPr marL="1266124" indent="-158265" algn="l">
              <a:buClr>
                <a:srgbClr val="97999B"/>
              </a:buClr>
              <a:buSzPct val="100000"/>
              <a:buFont typeface="Arial" panose="020B0604020202020204" pitchFamily="34" charset="0"/>
              <a:buChar char="○"/>
              <a:defRPr sz="1292" b="0">
                <a:solidFill>
                  <a:schemeClr val="tx1"/>
                </a:solidFill>
                <a:latin typeface="Arial" pitchFamily="34" charset="0"/>
                <a:cs typeface="Arial" pitchFamily="34" charset="0"/>
              </a:defRPr>
            </a:lvl8pPr>
            <a:lvl9pPr marL="1424389" indent="-158265" algn="l">
              <a:buClr>
                <a:srgbClr val="97999B"/>
              </a:buClr>
              <a:buSzPct val="100000"/>
              <a:buFont typeface="Symbol"/>
              <a:buChar char="·"/>
              <a:defRPr sz="1292" b="0">
                <a:solidFill>
                  <a:schemeClr val="tx1"/>
                </a:solidFill>
                <a:latin typeface="Arial" pitchFamily="34" charset="0"/>
                <a:cs typeface="Arial" pitchFamily="34" charset="0"/>
              </a:defRPr>
            </a:lvl9pPr>
          </a:lstStyle>
          <a:p>
            <a:pPr marL="158265" lvl="0" indent="-158265" algn="l">
              <a:buClr>
                <a:schemeClr val="accent1"/>
              </a:buClr>
              <a:buSzPct val="100000"/>
              <a:buFont typeface="Arial" pitchFamily="34" charset="0"/>
              <a:buChar char="•"/>
            </a:pPr>
            <a:r>
              <a:rPr lang="en-US" smtClean="0"/>
              <a:t>Edit Master text styles</a:t>
            </a:r>
          </a:p>
          <a:p>
            <a:pPr marL="158265" lvl="1" indent="-158265" algn="l">
              <a:buClr>
                <a:schemeClr val="accent1"/>
              </a:buClr>
              <a:buSzPct val="100000"/>
              <a:buFont typeface="Arial" pitchFamily="34" charset="0"/>
              <a:buChar char="•"/>
            </a:pPr>
            <a:r>
              <a:rPr lang="en-US" smtClean="0"/>
              <a:t>Second level</a:t>
            </a:r>
          </a:p>
        </p:txBody>
      </p:sp>
      <p:sp>
        <p:nvSpPr>
          <p:cNvPr id="10"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9"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4141682816"/>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4" name="Content Placeholder 1"/>
          <p:cNvSpPr>
            <a:spLocks noGrp="1"/>
          </p:cNvSpPr>
          <p:nvPr>
            <p:ph idx="1"/>
          </p:nvPr>
        </p:nvSpPr>
        <p:spPr>
          <a:xfrm>
            <a:off x="422030" y="990600"/>
            <a:ext cx="4079631" cy="5257800"/>
          </a:xfrm>
          <a:prstGeom prst="rect">
            <a:avLst/>
          </a:prstGeom>
        </p:spPr>
        <p:txBody>
          <a:bodyPr lIns="0" tIns="0" rIns="0" bIns="0"/>
          <a:lstStyle>
            <a:lvl1pPr marL="158265" indent="-158265" algn="l">
              <a:buClr>
                <a:schemeClr val="accent3"/>
              </a:buClr>
              <a:buSzPct val="80000"/>
              <a:buFont typeface="Arial"/>
              <a:buChar char="▲"/>
              <a:defRPr sz="1292" b="0">
                <a:solidFill>
                  <a:schemeClr val="tx1"/>
                </a:solidFill>
                <a:latin typeface="Arial" pitchFamily="34" charset="0"/>
                <a:cs typeface="Arial" pitchFamily="34" charset="0"/>
              </a:defRPr>
            </a:lvl1pPr>
            <a:lvl2pPr marL="316531" indent="-158265" algn="l">
              <a:buClr>
                <a:srgbClr val="00BDF2"/>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00BDF2"/>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00BDF2"/>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00BDF2"/>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00BDF2"/>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00BDF2"/>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00BDF2"/>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00BDF2"/>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5" name="Content Placeholder 1"/>
          <p:cNvSpPr>
            <a:spLocks noGrp="1"/>
          </p:cNvSpPr>
          <p:nvPr>
            <p:ph idx="11"/>
          </p:nvPr>
        </p:nvSpPr>
        <p:spPr>
          <a:xfrm>
            <a:off x="4853355" y="990600"/>
            <a:ext cx="4079631" cy="5257800"/>
          </a:xfrm>
          <a:prstGeom prst="rect">
            <a:avLst/>
          </a:prstGeom>
        </p:spPr>
        <p:txBody>
          <a:bodyPr lIns="0" tIns="0" rIns="0" bIns="0"/>
          <a:lstStyle>
            <a:lvl1pPr marL="158265" indent="-158265" algn="l">
              <a:buClr>
                <a:schemeClr val="accent4"/>
              </a:buClr>
              <a:buSzPct val="80000"/>
              <a:buFont typeface="Arial"/>
              <a:buChar char="▼"/>
              <a:defRPr sz="1292" b="0">
                <a:solidFill>
                  <a:schemeClr val="tx1"/>
                </a:solidFill>
                <a:latin typeface="Arial" pitchFamily="34" charset="0"/>
                <a:cs typeface="Arial" pitchFamily="34" charset="0"/>
              </a:defRPr>
            </a:lvl1pPr>
            <a:lvl2pPr marL="316531" indent="-158265" algn="l">
              <a:buClr>
                <a:srgbClr val="CB6015"/>
              </a:buClr>
              <a:buSzPct val="100000"/>
              <a:buFont typeface="Arial"/>
              <a:buChar char="–"/>
              <a:defRPr sz="1292" b="0">
                <a:solidFill>
                  <a:schemeClr val="tx1"/>
                </a:solidFill>
                <a:latin typeface="Arial" pitchFamily="34" charset="0"/>
                <a:cs typeface="Arial" pitchFamily="34" charset="0"/>
              </a:defRPr>
            </a:lvl2pPr>
            <a:lvl3pPr marL="474796" indent="-158265" algn="l">
              <a:buClr>
                <a:srgbClr val="CB6015"/>
              </a:buClr>
              <a:buSzPct val="100000"/>
              <a:buFont typeface="Wingdings"/>
              <a:buChar char="§"/>
              <a:defRPr sz="1292" b="0">
                <a:solidFill>
                  <a:schemeClr val="tx1"/>
                </a:solidFill>
                <a:latin typeface="Arial" pitchFamily="34" charset="0"/>
                <a:cs typeface="Arial" pitchFamily="34" charset="0"/>
              </a:defRPr>
            </a:lvl3pPr>
            <a:lvl4pPr marL="633062" indent="-158265" algn="l">
              <a:buClr>
                <a:srgbClr val="CB6015"/>
              </a:buClr>
              <a:buSzPct val="100000"/>
              <a:buFont typeface="Arial"/>
              <a:buChar char="○"/>
              <a:defRPr sz="1292" b="0">
                <a:solidFill>
                  <a:schemeClr val="tx1"/>
                </a:solidFill>
                <a:latin typeface="Arial" pitchFamily="34" charset="0"/>
                <a:cs typeface="Arial" pitchFamily="34" charset="0"/>
              </a:defRPr>
            </a:lvl4pPr>
            <a:lvl5pPr marL="791327" indent="-158265" algn="l">
              <a:buClr>
                <a:srgbClr val="CB6015"/>
              </a:buClr>
              <a:buSzPct val="100000"/>
              <a:buFont typeface="Symbol"/>
              <a:buChar char="·"/>
              <a:defRPr sz="1292" b="0">
                <a:solidFill>
                  <a:schemeClr val="tx1"/>
                </a:solidFill>
                <a:latin typeface="Arial" pitchFamily="34" charset="0"/>
                <a:cs typeface="Arial" pitchFamily="34" charset="0"/>
              </a:defRPr>
            </a:lvl5pPr>
            <a:lvl6pPr marL="949593" indent="-158265" algn="l">
              <a:buClr>
                <a:srgbClr val="CB6015"/>
              </a:buClr>
              <a:buSzPct val="100000"/>
              <a:buFont typeface="Arial"/>
              <a:buChar char="–"/>
              <a:defRPr sz="1292" b="0">
                <a:solidFill>
                  <a:schemeClr val="tx1"/>
                </a:solidFill>
                <a:latin typeface="Arial" pitchFamily="34" charset="0"/>
                <a:cs typeface="Arial" pitchFamily="34" charset="0"/>
              </a:defRPr>
            </a:lvl6pPr>
            <a:lvl7pPr marL="1107858" indent="-158265" algn="l">
              <a:buClr>
                <a:srgbClr val="CB6015"/>
              </a:buClr>
              <a:buSzPct val="100000"/>
              <a:buFont typeface="Wingdings"/>
              <a:buChar char="§"/>
              <a:defRPr sz="1292" b="0">
                <a:solidFill>
                  <a:schemeClr val="tx1"/>
                </a:solidFill>
                <a:latin typeface="Arial" pitchFamily="34" charset="0"/>
                <a:cs typeface="Arial" pitchFamily="34" charset="0"/>
              </a:defRPr>
            </a:lvl7pPr>
            <a:lvl8pPr marL="1266124" indent="-158265" algn="l">
              <a:buClr>
                <a:srgbClr val="CB6015"/>
              </a:buClr>
              <a:buSzPct val="100000"/>
              <a:buFont typeface="Arial"/>
              <a:buChar char="○"/>
              <a:defRPr sz="1292" b="0">
                <a:solidFill>
                  <a:schemeClr val="tx1"/>
                </a:solidFill>
                <a:latin typeface="Arial" pitchFamily="34" charset="0"/>
                <a:cs typeface="Arial" pitchFamily="34" charset="0"/>
              </a:defRPr>
            </a:lvl8pPr>
            <a:lvl9pPr marL="1424389" indent="-158265" algn="l">
              <a:buClr>
                <a:srgbClr val="CB6015"/>
              </a:buClr>
              <a:buSzPct val="100000"/>
              <a:buFont typeface="Symbol"/>
              <a:buChar char="·"/>
              <a:defRPr sz="1292" b="0">
                <a:solidFill>
                  <a:schemeClr val="tx1"/>
                </a:solidFill>
                <a:latin typeface="Arial" pitchFamily="34" charset="0"/>
                <a:cs typeface="Arial" pitchFamily="34" charset="0"/>
              </a:defRPr>
            </a:lvl9pPr>
          </a:lstStyle>
          <a:p>
            <a:pPr lvl="0"/>
            <a:r>
              <a:rPr lang="en-US" smtClean="0"/>
              <a:t>Edit Master text styles</a:t>
            </a:r>
          </a:p>
        </p:txBody>
      </p:sp>
      <p:sp>
        <p:nvSpPr>
          <p:cNvPr id="7"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6"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734436798"/>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Holder 2"/>
          <p:cNvSpPr>
            <a:spLocks noGrp="1"/>
          </p:cNvSpPr>
          <p:nvPr>
            <p:ph type="title"/>
          </p:nvPr>
        </p:nvSpPr>
        <p:spPr>
          <a:xfrm>
            <a:off x="832338" y="368439"/>
            <a:ext cx="8077201" cy="312521"/>
          </a:xfrm>
        </p:spPr>
        <p:txBody>
          <a:bodyPr lIns="0" tIns="0" rIns="0" bIns="0"/>
          <a:lstStyle>
            <a:lvl1pPr>
              <a:defRPr sz="2031" b="0" i="0">
                <a:solidFill>
                  <a:srgbClr val="001F5F"/>
                </a:solidFill>
                <a:latin typeface="Arial"/>
                <a:cs typeface="Arial"/>
              </a:defRPr>
            </a:lvl1pPr>
          </a:lstStyle>
          <a:p>
            <a:r>
              <a:rPr lang="en-US" smtClean="0"/>
              <a:t>Click to edit Master title style</a:t>
            </a:r>
            <a:endParaRPr dirty="0"/>
          </a:p>
        </p:txBody>
      </p:sp>
      <p:sp>
        <p:nvSpPr>
          <p:cNvPr id="3" name="Slide Number Placeholder 5"/>
          <p:cNvSpPr txBox="1">
            <a:spLocks/>
          </p:cNvSpPr>
          <p:nvPr userDrawn="1"/>
        </p:nvSpPr>
        <p:spPr>
          <a:xfrm>
            <a:off x="8632473" y="6589071"/>
            <a:ext cx="277065" cy="113557"/>
          </a:xfrm>
          <a:prstGeom prst="rect">
            <a:avLst/>
          </a:prstGeom>
        </p:spPr>
        <p:txBody>
          <a:bodyPr lIns="0" tIns="0" rIns="0" bIns="0" anchor="ctr">
            <a:spAutoFit/>
          </a:bodyPr>
          <a:lstStyle>
            <a:defPPr>
              <a:defRPr lang="en-US"/>
            </a:defPPr>
            <a:lvl1pPr algn="r">
              <a:defRPr sz="800">
                <a:solidFill>
                  <a:srgbClr val="001F5F">
                    <a:tint val="75000"/>
                  </a:srgbClr>
                </a:solidFill>
                <a:latin typeface="Arial" pitchFamily="34" charset="0"/>
                <a:cs typeface="Arial" pitchFamily="34" charset="0"/>
              </a:defRPr>
            </a:lvl1pPr>
          </a:lstStyle>
          <a:p>
            <a:pPr eaLnBrk="1" fontAlgn="auto" hangingPunct="1">
              <a:spcBef>
                <a:spcPts val="0"/>
              </a:spcBef>
              <a:spcAft>
                <a:spcPts val="0"/>
              </a:spcAft>
            </a:pPr>
            <a:fld id="{60E31820-40EB-4752-BF5C-5CDC15760999}" type="slidenum">
              <a:rPr lang="en-US" sz="738" smtClean="0"/>
              <a:pPr eaLnBrk="1" fontAlgn="auto" hangingPunct="1">
                <a:spcBef>
                  <a:spcPts val="0"/>
                </a:spcBef>
                <a:spcAft>
                  <a:spcPts val="0"/>
                </a:spcAft>
              </a:pPr>
              <a:t>‹#›</a:t>
            </a:fld>
            <a:endParaRPr lang="en-US" sz="738" dirty="0"/>
          </a:p>
        </p:txBody>
      </p:sp>
    </p:spTree>
    <p:extLst>
      <p:ext uri="{BB962C8B-B14F-4D97-AF65-F5344CB8AC3E}">
        <p14:creationId xmlns:p14="http://schemas.microsoft.com/office/powerpoint/2010/main" val="296474886"/>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2">
                    <a:lumMod val="90000"/>
                  </a:schemeClr>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Tree>
    <p:extLst>
      <p:ext uri="{BB962C8B-B14F-4D97-AF65-F5344CB8AC3E}">
        <p14:creationId xmlns:p14="http://schemas.microsoft.com/office/powerpoint/2010/main" val="1649956816"/>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object 2"/>
          <p:cNvSpPr/>
          <p:nvPr userDrawn="1"/>
        </p:nvSpPr>
        <p:spPr bwMode="gray">
          <a:xfrm>
            <a:off x="2591" y="2"/>
            <a:ext cx="9138818" cy="6854111"/>
          </a:xfrm>
          <a:prstGeom prst="rect">
            <a:avLst/>
          </a:prstGeom>
          <a:blipFill>
            <a:blip r:embed="rId2" cstate="print">
              <a:duotone>
                <a:schemeClr val="bg2">
                  <a:shade val="45000"/>
                  <a:satMod val="135000"/>
                </a:schemeClr>
                <a:prstClr val="white"/>
              </a:duotone>
            </a:blip>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Rectangle 1"/>
          <p:cNvSpPr/>
          <p:nvPr userDrawn="1"/>
        </p:nvSpPr>
        <p:spPr>
          <a:xfrm>
            <a:off x="0" y="2514600"/>
            <a:ext cx="9138819" cy="1905000"/>
          </a:xfrm>
          <a:prstGeom prst="rect">
            <a:avLst/>
          </a:prstGeom>
          <a:solidFill>
            <a:srgbClr val="EFF4FF">
              <a:alpha val="7568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7" name="Rectangle 84"/>
          <p:cNvSpPr>
            <a:spLocks noGrp="1" noChangeArrowheads="1"/>
          </p:cNvSpPr>
          <p:nvPr>
            <p:ph type="subTitle" idx="1"/>
          </p:nvPr>
        </p:nvSpPr>
        <p:spPr>
          <a:xfrm>
            <a:off x="209806" y="3670731"/>
            <a:ext cx="8516581" cy="307777"/>
          </a:xfrm>
          <a:prstGeom prst="rect">
            <a:avLst/>
          </a:prstGeom>
        </p:spPr>
        <p:txBody>
          <a:bodyPr lIns="0" tIns="45720" rIns="45720" bIns="45720"/>
          <a:lstStyle>
            <a:lvl1pPr marL="0" indent="0">
              <a:buFont typeface="Symbol" pitchFamily="18" charset="2"/>
              <a:buNone/>
              <a:defRPr sz="1477">
                <a:solidFill>
                  <a:schemeClr val="accent3"/>
                </a:solidFill>
                <a:latin typeface="Arial" pitchFamily="34" charset="0"/>
                <a:cs typeface="Arial" pitchFamily="34" charset="0"/>
              </a:defRPr>
            </a:lvl1pPr>
          </a:lstStyle>
          <a:p>
            <a:pPr lvl="0"/>
            <a:endParaRPr lang="en-US" noProof="0" dirty="0" smtClean="0"/>
          </a:p>
        </p:txBody>
      </p:sp>
      <p:sp>
        <p:nvSpPr>
          <p:cNvPr id="12" name="Holder 2"/>
          <p:cNvSpPr>
            <a:spLocks noGrp="1"/>
          </p:cNvSpPr>
          <p:nvPr>
            <p:ph type="title"/>
          </p:nvPr>
        </p:nvSpPr>
        <p:spPr>
          <a:xfrm>
            <a:off x="206992" y="2951029"/>
            <a:ext cx="8516581" cy="397801"/>
          </a:xfrm>
        </p:spPr>
        <p:txBody>
          <a:bodyPr lIns="0" tIns="0" rIns="0" bIns="0"/>
          <a:lstStyle>
            <a:lvl1pPr eaLnBrk="1" hangingPunct="1">
              <a:defRPr sz="2585" b="0" i="0" dirty="0">
                <a:solidFill>
                  <a:schemeClr val="tx1"/>
                </a:solidFill>
                <a:latin typeface="Arial"/>
                <a:ea typeface="+mj-ea"/>
                <a:cs typeface="Arial"/>
              </a:defRPr>
            </a:lvl1pPr>
          </a:lstStyle>
          <a:p>
            <a:r>
              <a:rPr lang="en-US" dirty="0" smtClean="0"/>
              <a:t>Click to edit Master title style</a:t>
            </a:r>
            <a:endParaRPr dirty="0"/>
          </a:p>
        </p:txBody>
      </p:sp>
      <p:sp>
        <p:nvSpPr>
          <p:cNvPr id="13" name="Rectangle 12"/>
          <p:cNvSpPr/>
          <p:nvPr userDrawn="1"/>
        </p:nvSpPr>
        <p:spPr>
          <a:xfrm>
            <a:off x="-2814" y="251460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14" name="Rectangle 13"/>
          <p:cNvSpPr/>
          <p:nvPr userDrawn="1"/>
        </p:nvSpPr>
        <p:spPr>
          <a:xfrm>
            <a:off x="-2814" y="4328160"/>
            <a:ext cx="9149627" cy="91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662" dirty="0">
              <a:solidFill>
                <a:srgbClr val="FFFFFF"/>
              </a:solidFill>
            </a:endParaRPr>
          </a:p>
        </p:txBody>
      </p:sp>
      <p:sp>
        <p:nvSpPr>
          <p:cNvPr id="8" name="bk object 16"/>
          <p:cNvSpPr>
            <a:spLocks/>
          </p:cNvSpPr>
          <p:nvPr userDrawn="1"/>
        </p:nvSpPr>
        <p:spPr>
          <a:xfrm>
            <a:off x="197346" y="152655"/>
            <a:ext cx="585918" cy="744093"/>
          </a:xfrm>
          <a:prstGeom prst="rect">
            <a:avLst/>
          </a:prstGeom>
          <a:blipFill>
            <a:blip r:embed="rId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Tree>
    <p:extLst>
      <p:ext uri="{BB962C8B-B14F-4D97-AF65-F5344CB8AC3E}">
        <p14:creationId xmlns:p14="http://schemas.microsoft.com/office/powerpoint/2010/main" val="514131638"/>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image" Target="../media/image3.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3.jpe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image" Target="../media/image2.jpeg"/><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image" Target="../media/image5.png"/><Relationship Id="rId5" Type="http://schemas.openxmlformats.org/officeDocument/2006/relationships/slideLayout" Target="../slideLayouts/slideLayout85.xml"/><Relationship Id="rId10" Type="http://schemas.openxmlformats.org/officeDocument/2006/relationships/theme" Target="../theme/theme1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image" Target="../media/image3.jpe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image" Target="../media/image2.jpeg"/><Relationship Id="rId5" Type="http://schemas.openxmlformats.org/officeDocument/2006/relationships/slideLayout" Target="../slideLayouts/slideLayout94.xml"/><Relationship Id="rId10" Type="http://schemas.openxmlformats.org/officeDocument/2006/relationships/image" Target="../media/image5.png"/><Relationship Id="rId4" Type="http://schemas.openxmlformats.org/officeDocument/2006/relationships/slideLayout" Target="../slideLayouts/slideLayout93.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3.jpe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image" Target="../media/image2.jpeg"/><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image" Target="../media/image5.png"/><Relationship Id="rId5" Type="http://schemas.openxmlformats.org/officeDocument/2006/relationships/slideLayout" Target="../slideLayouts/slideLayout102.xml"/><Relationship Id="rId10" Type="http://schemas.openxmlformats.org/officeDocument/2006/relationships/theme" Target="../theme/theme12.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3.jpe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image" Target="../media/image2.jpeg"/><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image" Target="../media/image5.png"/><Relationship Id="rId5" Type="http://schemas.openxmlformats.org/officeDocument/2006/relationships/slideLayout" Target="../slideLayouts/slideLayout111.xml"/><Relationship Id="rId10" Type="http://schemas.openxmlformats.org/officeDocument/2006/relationships/theme" Target="../theme/theme13.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image" Target="../media/image5.png"/><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4.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image" Target="../media/image3.jpeg"/><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image" Target="../media/image3.jpe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image" Target="../media/image2.jpeg"/><Relationship Id="rId5" Type="http://schemas.openxmlformats.org/officeDocument/2006/relationships/slideLayout" Target="../slideLayouts/slideLayout18.xml"/><Relationship Id="rId10" Type="http://schemas.openxmlformats.org/officeDocument/2006/relationships/image" Target="../media/image5.png"/><Relationship Id="rId4" Type="http://schemas.openxmlformats.org/officeDocument/2006/relationships/slideLayout" Target="../slideLayouts/slideLayout17.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image" Target="../media/image3.jpeg"/><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image" Target="../media/image2.jpeg"/><Relationship Id="rId5" Type="http://schemas.openxmlformats.org/officeDocument/2006/relationships/slideLayout" Target="../slideLayouts/slideLayout26.xml"/><Relationship Id="rId10" Type="http://schemas.openxmlformats.org/officeDocument/2006/relationships/image" Target="../media/image5.png"/><Relationship Id="rId4" Type="http://schemas.openxmlformats.org/officeDocument/2006/relationships/slideLayout" Target="../slideLayouts/slideLayout2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image" Target="../media/image3.jpe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2.jpeg"/><Relationship Id="rId5" Type="http://schemas.openxmlformats.org/officeDocument/2006/relationships/slideLayout" Target="../slideLayouts/slideLayout34.xml"/><Relationship Id="rId10" Type="http://schemas.openxmlformats.org/officeDocument/2006/relationships/image" Target="../media/image5.png"/><Relationship Id="rId4" Type="http://schemas.openxmlformats.org/officeDocument/2006/relationships/slideLayout" Target="../slideLayouts/slideLayout33.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image" Target="../media/image3.jpeg"/><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image" Target="../media/image2.jpeg"/><Relationship Id="rId5" Type="http://schemas.openxmlformats.org/officeDocument/2006/relationships/slideLayout" Target="../slideLayouts/slideLayout42.xml"/><Relationship Id="rId10" Type="http://schemas.openxmlformats.org/officeDocument/2006/relationships/image" Target="../media/image5.png"/><Relationship Id="rId4" Type="http://schemas.openxmlformats.org/officeDocument/2006/relationships/slideLayout" Target="../slideLayouts/slideLayout41.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image" Target="../media/image3.jpeg"/><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image" Target="../media/image2.jpeg"/><Relationship Id="rId5" Type="http://schemas.openxmlformats.org/officeDocument/2006/relationships/slideLayout" Target="../slideLayouts/slideLayout50.xml"/><Relationship Id="rId10" Type="http://schemas.openxmlformats.org/officeDocument/2006/relationships/image" Target="../media/image5.png"/><Relationship Id="rId4" Type="http://schemas.openxmlformats.org/officeDocument/2006/relationships/slideLayout" Target="../slideLayouts/slideLayout49.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3.jpe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image" Target="../media/image2.jpeg"/><Relationship Id="rId5" Type="http://schemas.openxmlformats.org/officeDocument/2006/relationships/slideLayout" Target="../slideLayouts/slideLayout58.xml"/><Relationship Id="rId10" Type="http://schemas.openxmlformats.org/officeDocument/2006/relationships/image" Target="../media/image5.png"/><Relationship Id="rId4" Type="http://schemas.openxmlformats.org/officeDocument/2006/relationships/slideLayout" Target="../slideLayouts/slideLayout57.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2.jpe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image" Target="../media/image5.pn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theme" Target="../theme/theme8.xml"/><Relationship Id="rId5" Type="http://schemas.openxmlformats.org/officeDocument/2006/relationships/slideLayout" Target="../slideLayouts/slideLayout66.xml"/><Relationship Id="rId10" Type="http://schemas.openxmlformats.org/officeDocument/2006/relationships/slideLayout" Target="../slideLayouts/slideLayout71.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3.jpe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image" Target="../media/image2.jpeg"/><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image" Target="../media/image5.png"/><Relationship Id="rId5" Type="http://schemas.openxmlformats.org/officeDocument/2006/relationships/slideLayout" Target="../slideLayouts/slideLayout76.xml"/><Relationship Id="rId10" Type="http://schemas.openxmlformats.org/officeDocument/2006/relationships/theme" Target="../theme/theme9.xml"/><Relationship Id="rId4" Type="http://schemas.openxmlformats.org/officeDocument/2006/relationships/slideLayout" Target="../slideLayouts/slideLayout75.xml"/><Relationship Id="rId9" Type="http://schemas.openxmlformats.org/officeDocument/2006/relationships/slideLayout" Target="../slideLayouts/slideLayout8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548084480"/>
              </p:ext>
            </p:extLst>
          </p:nvPr>
        </p:nvGraphicFramePr>
        <p:xfrm>
          <a:off x="1613" y="1638"/>
          <a:ext cx="1587" cy="1587"/>
        </p:xfrm>
        <a:graphic>
          <a:graphicData uri="http://schemas.openxmlformats.org/presentationml/2006/ole">
            <mc:AlternateContent xmlns:mc="http://schemas.openxmlformats.org/markup-compatibility/2006">
              <mc:Choice xmlns:v="urn:schemas-microsoft-com:vml" Requires="v">
                <p:oleObj spid="_x0000_s41658" name="think-cell Slide" r:id="rId18" imgW="360" imgH="360" progId="TCLayout.ActiveDocument.1">
                  <p:embed/>
                </p:oleObj>
              </mc:Choice>
              <mc:Fallback>
                <p:oleObj name="think-cell Slide" r:id="rId18" imgW="360" imgH="360" progId="TCLayout.ActiveDocument.1">
                  <p:embed/>
                  <p:pic>
                    <p:nvPicPr>
                      <p:cNvPr id="0" name="Picture 160"/>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613" y="163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17"/>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80000"/>
              </a:lnSpc>
              <a:spcBef>
                <a:spcPct val="0"/>
              </a:spcBef>
              <a:spcAft>
                <a:spcPct val="0"/>
              </a:spcAft>
              <a:buClrTx/>
              <a:buSzTx/>
              <a:buFontTx/>
              <a:buNone/>
              <a:tabLst/>
            </a:pPr>
            <a:endParaRPr kumimoji="0" lang="en-US" sz="2000" b="0" i="0" u="none" strike="noStrike" cap="none" normalizeH="0" baseline="0" dirty="0">
              <a:ln>
                <a:noFill/>
              </a:ln>
              <a:solidFill>
                <a:schemeClr val="tx1"/>
              </a:solidFill>
              <a:effectLst/>
              <a:latin typeface="Arial" panose="020B0604020202020204" pitchFamily="34" charset="0"/>
              <a:ea typeface="Arial Unicode MS" panose="020B0604020202020204" pitchFamily="34" charset="-128"/>
              <a:cs typeface="Arial Unicode MS" pitchFamily="-109" charset="0"/>
              <a:sym typeface="Arial" panose="020B0604020202020204" pitchFamily="34" charset="0"/>
            </a:endParaRPr>
          </a:p>
        </p:txBody>
      </p:sp>
      <p:pic>
        <p:nvPicPr>
          <p:cNvPr id="33" name="Picture 32"/>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607" y="0"/>
            <a:ext cx="9108281" cy="6858000"/>
          </a:xfrm>
          <a:prstGeom prst="rect">
            <a:avLst/>
          </a:prstGeom>
        </p:spPr>
      </p:pic>
      <p:sp>
        <p:nvSpPr>
          <p:cNvPr id="1026" name="Rectangle 3"/>
          <p:cNvSpPr>
            <a:spLocks noGrp="1" noChangeArrowheads="1"/>
          </p:cNvSpPr>
          <p:nvPr>
            <p:ph type="body" idx="1"/>
          </p:nvPr>
        </p:nvSpPr>
        <p:spPr bwMode="auto">
          <a:xfrm>
            <a:off x="438152" y="1095375"/>
            <a:ext cx="8226425" cy="5099050"/>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bodyPr>
          <a:lstStyle/>
          <a:p>
            <a:pPr lvl="0"/>
            <a:r>
              <a:rPr lang="en-US" altLang="zh-TW" dirty="0"/>
              <a:t>Click to edit Master text styles</a:t>
            </a:r>
          </a:p>
          <a:p>
            <a:pPr lvl="1"/>
            <a:r>
              <a:rPr lang="en-US" altLang="zh-TW" dirty="0"/>
              <a:t>Second level</a:t>
            </a:r>
          </a:p>
          <a:p>
            <a:pPr lvl="2"/>
            <a:r>
              <a:rPr lang="en-US" altLang="zh-TW" dirty="0"/>
              <a:t>Third level</a:t>
            </a:r>
          </a:p>
          <a:p>
            <a:pPr lvl="3"/>
            <a:r>
              <a:rPr lang="en-US" altLang="zh-TW" dirty="0"/>
              <a:t>Fourth level</a:t>
            </a:r>
          </a:p>
          <a:p>
            <a:pPr lvl="4"/>
            <a:r>
              <a:rPr lang="en-US" altLang="zh-TW" dirty="0"/>
              <a:t>Fifth level</a:t>
            </a:r>
          </a:p>
        </p:txBody>
      </p:sp>
      <p:sp>
        <p:nvSpPr>
          <p:cNvPr id="1027" name="Rectangle 2"/>
          <p:cNvSpPr>
            <a:spLocks noGrp="1" noChangeArrowheads="1"/>
          </p:cNvSpPr>
          <p:nvPr>
            <p:ph type="title"/>
          </p:nvPr>
        </p:nvSpPr>
        <p:spPr bwMode="auto">
          <a:xfrm>
            <a:off x="1099127" y="269875"/>
            <a:ext cx="7582912" cy="661988"/>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bodyPr>
          <a:lstStyle/>
          <a:p>
            <a:pPr lvl="0"/>
            <a:r>
              <a:rPr lang="en-US" altLang="zh-TW" dirty="0"/>
              <a:t>Click to edit Master title style</a:t>
            </a:r>
          </a:p>
        </p:txBody>
      </p:sp>
      <p:pic>
        <p:nvPicPr>
          <p:cNvPr id="9" name="Picture 9"/>
          <p:cNvPicPr>
            <a:picLocks/>
          </p:cNvPicPr>
          <p:nvPr userDrawn="1"/>
        </p:nvPicPr>
        <p:blipFill>
          <a:blip r:embed="rId21">
            <a:extLst>
              <a:ext uri="{28A0092B-C50C-407E-A947-70E740481C1C}">
                <a14:useLocalDpi xmlns:a14="http://schemas.microsoft.com/office/drawing/2010/main" val="0"/>
              </a:ext>
            </a:extLst>
          </a:blip>
          <a:stretch>
            <a:fillRect/>
          </a:stretch>
        </p:blipFill>
        <p:spPr>
          <a:xfrm>
            <a:off x="7096504" y="6148087"/>
            <a:ext cx="1900854" cy="796772"/>
          </a:xfrm>
          <a:prstGeom prst="rect">
            <a:avLst/>
          </a:prstGeom>
        </p:spPr>
      </p:pic>
    </p:spTree>
  </p:cSld>
  <p:clrMap bg1="lt1" tx1="dk1" bg2="lt2" tx2="dk2" accent1="accent1" accent2="accent2" accent3="accent3" accent4="accent4" accent5="accent5" accent6="accent6" hlink="hlink" folHlink="folHlink"/>
  <p:sldLayoutIdLst>
    <p:sldLayoutId id="2147483735" r:id="rId1"/>
    <p:sldLayoutId id="2147483736" r:id="rId2"/>
    <p:sldLayoutId id="2147483728" r:id="rId3"/>
    <p:sldLayoutId id="2147483737" r:id="rId4"/>
    <p:sldLayoutId id="2147483729" r:id="rId5"/>
    <p:sldLayoutId id="2147483730" r:id="rId6"/>
    <p:sldLayoutId id="2147483731" r:id="rId7"/>
    <p:sldLayoutId id="2147483732" r:id="rId8"/>
    <p:sldLayoutId id="2147483733" r:id="rId9"/>
    <p:sldLayoutId id="2147483734" r:id="rId10"/>
    <p:sldLayoutId id="2147483743" r:id="rId11"/>
    <p:sldLayoutId id="2147483744" r:id="rId12"/>
    <p:sldLayoutId id="2147483745" r:id="rId13"/>
  </p:sldLayoutIdLst>
  <p:timing>
    <p:tnLst>
      <p:par>
        <p:cTn id="1" dur="indefinite" restart="never" nodeType="tmRoot"/>
      </p:par>
    </p:tnLst>
  </p:timing>
  <p:hf hdr="0" ftr="0" dt="0"/>
  <p:txStyles>
    <p:titleStyle>
      <a:lvl1pPr marL="0" indent="0" algn="l" rtl="0" eaLnBrk="0" fontAlgn="base" hangingPunct="0">
        <a:lnSpc>
          <a:spcPct val="80000"/>
        </a:lnSpc>
        <a:spcBef>
          <a:spcPct val="0"/>
        </a:spcBef>
        <a:spcAft>
          <a:spcPct val="0"/>
        </a:spcAft>
        <a:buFontTx/>
        <a:buNone/>
        <a:defRPr lang="en-US" altLang="zh-TW" sz="2000" kern="1200" dirty="0">
          <a:solidFill>
            <a:srgbClr val="1F497D"/>
          </a:solidFill>
          <a:latin typeface="+mn-lt"/>
          <a:ea typeface="Arial Unicode MS" charset="0"/>
          <a:cs typeface="CMCatalogue-Light"/>
        </a:defRPr>
      </a:lvl1pPr>
      <a:lvl2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2pPr>
      <a:lvl3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3pPr>
      <a:lvl4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4pPr>
      <a:lvl5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5pPr>
      <a:lvl6pPr marL="4572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p:titleStyle>
    <p:bodyStyle>
      <a:lvl1pPr marL="228600" indent="-228600" algn="l" rtl="0" eaLnBrk="0" fontAlgn="base" hangingPunct="0">
        <a:lnSpc>
          <a:spcPct val="80000"/>
        </a:lnSpc>
        <a:spcBef>
          <a:spcPct val="40000"/>
        </a:spcBef>
        <a:spcAft>
          <a:spcPct val="0"/>
        </a:spcAft>
        <a:buChar char="•"/>
        <a:defRPr sz="1800">
          <a:solidFill>
            <a:srgbClr val="4F81BD"/>
          </a:solidFill>
          <a:latin typeface="+mn-lt"/>
          <a:ea typeface="+mn-ea"/>
          <a:cs typeface="+mn-cs"/>
        </a:defRPr>
      </a:lvl1pPr>
      <a:lvl2pPr marL="685800" indent="-228600" algn="l" rtl="0" eaLnBrk="0" fontAlgn="base" hangingPunct="0">
        <a:lnSpc>
          <a:spcPct val="80000"/>
        </a:lnSpc>
        <a:spcBef>
          <a:spcPct val="40000"/>
        </a:spcBef>
        <a:spcAft>
          <a:spcPct val="0"/>
        </a:spcAft>
        <a:buFont typeface="Arial" charset="0"/>
        <a:buChar char="–"/>
        <a:defRPr sz="1600">
          <a:solidFill>
            <a:srgbClr val="4F81BD"/>
          </a:solidFill>
          <a:latin typeface="+mn-lt"/>
          <a:ea typeface="+mn-ea"/>
          <a:cs typeface="+mn-cs"/>
        </a:defRPr>
      </a:lvl2pPr>
      <a:lvl3pPr marL="1033463" indent="-233363" algn="l" rtl="0" eaLnBrk="0" fontAlgn="base" hangingPunct="0">
        <a:lnSpc>
          <a:spcPct val="80000"/>
        </a:lnSpc>
        <a:spcBef>
          <a:spcPct val="40000"/>
        </a:spcBef>
        <a:spcAft>
          <a:spcPct val="0"/>
        </a:spcAft>
        <a:buChar char="•"/>
        <a:defRPr sz="1400">
          <a:solidFill>
            <a:srgbClr val="4F81BD"/>
          </a:solidFill>
          <a:latin typeface="+mn-lt"/>
          <a:ea typeface="+mn-ea"/>
          <a:cs typeface="+mn-cs"/>
        </a:defRPr>
      </a:lvl3pPr>
      <a:lvl4pPr marL="1371600" indent="-223838" algn="l" rtl="0" eaLnBrk="0" fontAlgn="base" hangingPunct="0">
        <a:lnSpc>
          <a:spcPct val="80000"/>
        </a:lnSpc>
        <a:spcBef>
          <a:spcPct val="40000"/>
        </a:spcBef>
        <a:spcAft>
          <a:spcPct val="0"/>
        </a:spcAft>
        <a:buChar char="•"/>
        <a:defRPr sz="1200">
          <a:solidFill>
            <a:srgbClr val="4F81BD"/>
          </a:solidFill>
          <a:latin typeface="+mn-lt"/>
          <a:ea typeface="+mn-ea"/>
          <a:cs typeface="+mn-cs"/>
        </a:defRPr>
      </a:lvl4pPr>
      <a:lvl5pPr marL="1719263" indent="-233363" algn="l" rtl="0" eaLnBrk="0" fontAlgn="base" hangingPunct="0">
        <a:lnSpc>
          <a:spcPct val="80000"/>
        </a:lnSpc>
        <a:spcBef>
          <a:spcPct val="40000"/>
        </a:spcBef>
        <a:spcAft>
          <a:spcPct val="0"/>
        </a:spcAft>
        <a:buChar char="•"/>
        <a:defRPr sz="1000">
          <a:solidFill>
            <a:srgbClr val="4F81BD"/>
          </a:solidFill>
          <a:latin typeface="+mn-lt"/>
          <a:ea typeface="+mn-ea"/>
          <a:cs typeface="+mn-cs"/>
        </a:defRPr>
      </a:lvl5pPr>
      <a:lvl6pPr marL="2176463" indent="-233363" algn="l" rtl="0" fontAlgn="base">
        <a:lnSpc>
          <a:spcPct val="80000"/>
        </a:lnSpc>
        <a:spcBef>
          <a:spcPct val="40000"/>
        </a:spcBef>
        <a:spcAft>
          <a:spcPct val="0"/>
        </a:spcAft>
        <a:buChar char="•"/>
        <a:defRPr sz="3200">
          <a:solidFill>
            <a:schemeClr val="bg2"/>
          </a:solidFill>
          <a:latin typeface="+mn-lt"/>
          <a:ea typeface="+mn-ea"/>
          <a:cs typeface="+mn-cs"/>
        </a:defRPr>
      </a:lvl6pPr>
      <a:lvl7pPr marL="2633663" indent="-233363" algn="l" rtl="0" fontAlgn="base">
        <a:lnSpc>
          <a:spcPct val="80000"/>
        </a:lnSpc>
        <a:spcBef>
          <a:spcPct val="40000"/>
        </a:spcBef>
        <a:spcAft>
          <a:spcPct val="0"/>
        </a:spcAft>
        <a:buChar char="•"/>
        <a:defRPr sz="3200">
          <a:solidFill>
            <a:schemeClr val="bg2"/>
          </a:solidFill>
          <a:latin typeface="+mn-lt"/>
          <a:ea typeface="+mn-ea"/>
          <a:cs typeface="+mn-cs"/>
        </a:defRPr>
      </a:lvl7pPr>
      <a:lvl8pPr marL="3090863" indent="-233363" algn="l" rtl="0" fontAlgn="base">
        <a:lnSpc>
          <a:spcPct val="80000"/>
        </a:lnSpc>
        <a:spcBef>
          <a:spcPct val="40000"/>
        </a:spcBef>
        <a:spcAft>
          <a:spcPct val="0"/>
        </a:spcAft>
        <a:buChar char="•"/>
        <a:defRPr sz="3200">
          <a:solidFill>
            <a:schemeClr val="bg2"/>
          </a:solidFill>
          <a:latin typeface="+mn-lt"/>
          <a:ea typeface="+mn-ea"/>
          <a:cs typeface="+mn-cs"/>
        </a:defRPr>
      </a:lvl8pPr>
      <a:lvl9pPr marL="3548063" indent="-233363" algn="l" rtl="0" fontAlgn="base">
        <a:lnSpc>
          <a:spcPct val="80000"/>
        </a:lnSpc>
        <a:spcBef>
          <a:spcPct val="40000"/>
        </a:spcBef>
        <a:spcAft>
          <a:spcPct val="0"/>
        </a:spcAft>
        <a:buChar char="•"/>
        <a:defRPr sz="3200">
          <a:solidFill>
            <a:schemeClr val="bg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1"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3">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2331084241"/>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140598538"/>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1"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3">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2567503607"/>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1"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3">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13577399"/>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9"/>
            <a:ext cx="585918" cy="744093"/>
          </a:xfrm>
          <a:prstGeom prst="rect">
            <a:avLst/>
          </a:prstGeom>
          <a:blipFill>
            <a:blip r:embed="rId13"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65"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4">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5">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9"/>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532641442"/>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20053784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467755214"/>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475142638"/>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371279288"/>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3442767589"/>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0"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1">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2">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3693472345"/>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2"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3">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4">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154328846"/>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k object 16"/>
          <p:cNvSpPr>
            <a:spLocks/>
          </p:cNvSpPr>
          <p:nvPr/>
        </p:nvSpPr>
        <p:spPr>
          <a:xfrm>
            <a:off x="197346" y="152655"/>
            <a:ext cx="585918" cy="744093"/>
          </a:xfrm>
          <a:prstGeom prst="rect">
            <a:avLst/>
          </a:prstGeom>
          <a:blipFill>
            <a:blip r:embed="rId11" cstate="print"/>
            <a:stretch>
              <a:fillRect/>
            </a:stretch>
          </a:blipFill>
        </p:spPr>
        <p:txBody>
          <a:bodyPr wrap="square" lIns="0" tIns="0" rIns="0" bIns="0" rtlCol="0"/>
          <a:lstStyle/>
          <a:p>
            <a:pPr eaLnBrk="1" fontAlgn="auto" hangingPunct="1">
              <a:spcBef>
                <a:spcPts val="0"/>
              </a:spcBef>
              <a:spcAft>
                <a:spcPts val="0"/>
              </a:spcAft>
            </a:pPr>
            <a:endParaRPr sz="1662" dirty="0">
              <a:solidFill>
                <a:srgbClr val="001F5F"/>
              </a:solidFill>
              <a:latin typeface="Arial"/>
              <a:cs typeface="+mn-cs"/>
            </a:endParaRPr>
          </a:p>
        </p:txBody>
      </p:sp>
      <p:sp>
        <p:nvSpPr>
          <p:cNvPr id="2" name="Holder 2"/>
          <p:cNvSpPr>
            <a:spLocks noGrp="1"/>
          </p:cNvSpPr>
          <p:nvPr>
            <p:ph type="title"/>
          </p:nvPr>
        </p:nvSpPr>
        <p:spPr>
          <a:xfrm>
            <a:off x="832338" y="355423"/>
            <a:ext cx="8077201" cy="338554"/>
          </a:xfrm>
          <a:prstGeom prst="rect">
            <a:avLst/>
          </a:prstGeom>
        </p:spPr>
        <p:txBody>
          <a:bodyPr wrap="square" lIns="0" tIns="0" rIns="0" bIns="0" anchor="ctr">
            <a:spAutoFit/>
          </a:bodyPr>
          <a:lstStyle>
            <a:lvl1pPr>
              <a:defRPr sz="2200" b="0" i="0">
                <a:solidFill>
                  <a:srgbClr val="001F5F"/>
                </a:solidFill>
                <a:latin typeface="Arial"/>
                <a:cs typeface="Arial"/>
              </a:defRPr>
            </a:lvl1pPr>
          </a:lstStyle>
          <a:p>
            <a:endParaRPr dirty="0"/>
          </a:p>
        </p:txBody>
      </p:sp>
      <p:pic>
        <p:nvPicPr>
          <p:cNvPr id="14" name="Picture 13"/>
          <p:cNvPicPr>
            <a:picLocks noChangeAspect="1"/>
          </p:cNvPicPr>
          <p:nvPr/>
        </p:nvPicPr>
        <p:blipFill rotWithShape="1">
          <a:blip r:embed="rId12">
            <a:extLst>
              <a:ext uri="{28A0092B-C50C-407E-A947-70E740481C1C}">
                <a14:useLocalDpi xmlns:a14="http://schemas.microsoft.com/office/drawing/2010/main" val="0"/>
              </a:ext>
            </a:extLst>
          </a:blip>
          <a:srcRect r="98311"/>
          <a:stretch/>
        </p:blipFill>
        <p:spPr>
          <a:xfrm>
            <a:off x="1" y="3"/>
            <a:ext cx="141991" cy="6858000"/>
          </a:xfrm>
          <a:prstGeom prst="rect">
            <a:avLst/>
          </a:prstGeom>
        </p:spPr>
      </p:pic>
      <p:pic>
        <p:nvPicPr>
          <p:cNvPr id="15" name="Picture 9"/>
          <p:cNvPicPr>
            <a:picLocks/>
          </p:cNvPicPr>
          <p:nvPr/>
        </p:nvPicPr>
        <p:blipFill rotWithShape="1">
          <a:blip r:embed="rId13">
            <a:extLst>
              <a:ext uri="{28A0092B-C50C-407E-A947-70E740481C1C}">
                <a14:useLocalDpi xmlns:a14="http://schemas.microsoft.com/office/drawing/2010/main" val="0"/>
              </a:ext>
            </a:extLst>
          </a:blip>
          <a:srcRect t="32965" b="9564"/>
          <a:stretch/>
        </p:blipFill>
        <p:spPr>
          <a:xfrm>
            <a:off x="7033846" y="6390830"/>
            <a:ext cx="1754634" cy="457912"/>
          </a:xfrm>
          <a:prstGeom prst="rect">
            <a:avLst/>
          </a:prstGeom>
        </p:spPr>
      </p:pic>
      <p:sp>
        <p:nvSpPr>
          <p:cNvPr id="17" name="Ορθογώνιο 19"/>
          <p:cNvSpPr/>
          <p:nvPr userDrawn="1"/>
        </p:nvSpPr>
        <p:spPr>
          <a:xfrm>
            <a:off x="6807162" y="30918"/>
            <a:ext cx="2185214" cy="262829"/>
          </a:xfrm>
          <a:prstGeom prst="rect">
            <a:avLst/>
          </a:prstGeom>
        </p:spPr>
        <p:txBody>
          <a:bodyPr wrap="none">
            <a:spAutoFit/>
          </a:bodyPr>
          <a:lstStyle/>
          <a:p>
            <a:pPr defTabSz="866967" eaLnBrk="1" fontAlgn="auto" hangingPunct="1">
              <a:spcBef>
                <a:spcPts val="0"/>
              </a:spcBef>
              <a:spcAft>
                <a:spcPts val="0"/>
              </a:spcAft>
              <a:defRPr/>
            </a:pPr>
            <a:r>
              <a:rPr lang="en-US" sz="1108" b="1" i="1" dirty="0" smtClean="0">
                <a:solidFill>
                  <a:srgbClr val="FFFFFF">
                    <a:lumMod val="50000"/>
                  </a:srgbClr>
                </a:solidFill>
                <a:latin typeface="Arial"/>
                <a:cs typeface="+mn-cs"/>
              </a:rPr>
              <a:t>Strictly Private &amp; Confidential</a:t>
            </a:r>
            <a:endParaRPr lang="en-US" sz="1108" b="1" i="1" dirty="0">
              <a:solidFill>
                <a:srgbClr val="FFFFFF">
                  <a:lumMod val="50000"/>
                </a:srgbClr>
              </a:solidFill>
              <a:latin typeface="Arial"/>
              <a:cs typeface="+mn-cs"/>
            </a:endParaRPr>
          </a:p>
        </p:txBody>
      </p:sp>
      <p:sp>
        <p:nvSpPr>
          <p:cNvPr id="18" name="Rectangle 17"/>
          <p:cNvSpPr/>
          <p:nvPr userDrawn="1"/>
        </p:nvSpPr>
        <p:spPr>
          <a:xfrm>
            <a:off x="-1404744" y="643483"/>
            <a:ext cx="1176620" cy="5738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smtClean="0">
                <a:solidFill>
                  <a:srgbClr val="FFFFFF"/>
                </a:solidFill>
              </a:rPr>
              <a:t>0-31-95</a:t>
            </a:r>
            <a:endParaRPr lang="en-US" sz="1292">
              <a:solidFill>
                <a:srgbClr val="FFFFFF"/>
              </a:solidFill>
            </a:endParaRPr>
          </a:p>
        </p:txBody>
      </p:sp>
      <p:sp>
        <p:nvSpPr>
          <p:cNvPr id="19" name="Rectangle 18"/>
          <p:cNvSpPr/>
          <p:nvPr userDrawn="1"/>
        </p:nvSpPr>
        <p:spPr>
          <a:xfrm>
            <a:off x="-1404744" y="2037399"/>
            <a:ext cx="1176620" cy="573812"/>
          </a:xfrm>
          <a:prstGeom prst="rect">
            <a:avLst/>
          </a:prstGeom>
          <a:solidFill>
            <a:srgbClr val="E28C0A"/>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26-140-10</a:t>
            </a:r>
            <a:endParaRPr lang="en-US" sz="1292" dirty="0">
              <a:solidFill>
                <a:srgbClr val="FFFFFF"/>
              </a:solidFill>
            </a:endParaRPr>
          </a:p>
        </p:txBody>
      </p:sp>
      <p:sp>
        <p:nvSpPr>
          <p:cNvPr id="20" name="Rectangle 19"/>
          <p:cNvSpPr/>
          <p:nvPr userDrawn="1"/>
        </p:nvSpPr>
        <p:spPr>
          <a:xfrm>
            <a:off x="-1404744" y="2734357"/>
            <a:ext cx="1176620" cy="573812"/>
          </a:xfrm>
          <a:prstGeom prst="rect">
            <a:avLst/>
          </a:prstGeom>
          <a:solidFill>
            <a:srgbClr val="CC0009"/>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204-0-9</a:t>
            </a:r>
            <a:endParaRPr lang="en-US" sz="1292" dirty="0">
              <a:solidFill>
                <a:srgbClr val="FFFFFF"/>
              </a:solidFill>
            </a:endParaRPr>
          </a:p>
        </p:txBody>
      </p:sp>
      <p:sp>
        <p:nvSpPr>
          <p:cNvPr id="21" name="Rectangle 20"/>
          <p:cNvSpPr/>
          <p:nvPr userDrawn="1"/>
        </p:nvSpPr>
        <p:spPr>
          <a:xfrm>
            <a:off x="-1404744" y="4825231"/>
            <a:ext cx="1176620" cy="573812"/>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28-128-128</a:t>
            </a:r>
            <a:endParaRPr lang="en-US" sz="1292" dirty="0">
              <a:solidFill>
                <a:srgbClr val="FFFFFF"/>
              </a:solidFill>
            </a:endParaRPr>
          </a:p>
        </p:txBody>
      </p:sp>
      <p:sp>
        <p:nvSpPr>
          <p:cNvPr id="22" name="Rectangle 21"/>
          <p:cNvSpPr/>
          <p:nvPr userDrawn="1"/>
        </p:nvSpPr>
        <p:spPr>
          <a:xfrm>
            <a:off x="-1404744" y="3431315"/>
            <a:ext cx="1176620" cy="573812"/>
          </a:xfrm>
          <a:prstGeom prst="rect">
            <a:avLst/>
          </a:prstGeom>
          <a:solidFill>
            <a:srgbClr val="0099B5"/>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0-153-181</a:t>
            </a:r>
            <a:endParaRPr lang="en-US" sz="1292" dirty="0">
              <a:solidFill>
                <a:srgbClr val="FFFFFF"/>
              </a:solidFill>
            </a:endParaRPr>
          </a:p>
        </p:txBody>
      </p:sp>
      <p:sp>
        <p:nvSpPr>
          <p:cNvPr id="23" name="Rectangle 22"/>
          <p:cNvSpPr/>
          <p:nvPr userDrawn="1"/>
        </p:nvSpPr>
        <p:spPr>
          <a:xfrm>
            <a:off x="-1404744" y="4128273"/>
            <a:ext cx="1176620" cy="573812"/>
          </a:xfrm>
          <a:prstGeom prst="rect">
            <a:avLst/>
          </a:prstGeom>
          <a:solidFill>
            <a:srgbClr val="973200"/>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FFFFFF"/>
                </a:solidFill>
              </a:rPr>
              <a:t>151-50-0</a:t>
            </a:r>
            <a:endParaRPr lang="en-US" sz="1292" dirty="0">
              <a:solidFill>
                <a:srgbClr val="FFFFFF"/>
              </a:solidFill>
            </a:endParaRPr>
          </a:p>
        </p:txBody>
      </p:sp>
      <p:sp>
        <p:nvSpPr>
          <p:cNvPr id="24" name="Rectangle 23"/>
          <p:cNvSpPr/>
          <p:nvPr userDrawn="1"/>
        </p:nvSpPr>
        <p:spPr>
          <a:xfrm>
            <a:off x="-1404744" y="1340441"/>
            <a:ext cx="1176620" cy="5738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157-185-251</a:t>
            </a:r>
            <a:endParaRPr lang="en-US" sz="1292" dirty="0">
              <a:solidFill>
                <a:srgbClr val="001F5F"/>
              </a:solidFill>
            </a:endParaRPr>
          </a:p>
        </p:txBody>
      </p:sp>
      <p:sp>
        <p:nvSpPr>
          <p:cNvPr id="25" name="Rectangle 24"/>
          <p:cNvSpPr/>
          <p:nvPr userDrawn="1"/>
        </p:nvSpPr>
        <p:spPr>
          <a:xfrm>
            <a:off x="-1404744" y="5522188"/>
            <a:ext cx="1176620" cy="57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6881" tIns="16881" rIns="16881" bIns="16881" rtlCol="0" anchor="ctr"/>
          <a:lstStyle/>
          <a:p>
            <a:pPr algn="ctr" eaLnBrk="1" fontAlgn="auto" hangingPunct="1">
              <a:spcBef>
                <a:spcPts val="0"/>
              </a:spcBef>
              <a:spcAft>
                <a:spcPts val="0"/>
              </a:spcAft>
            </a:pPr>
            <a:r>
              <a:rPr lang="en-US" sz="1292" dirty="0" smtClean="0">
                <a:solidFill>
                  <a:srgbClr val="001F5F"/>
                </a:solidFill>
              </a:rPr>
              <a:t>213-226-255</a:t>
            </a:r>
            <a:endParaRPr lang="en-US" sz="1292" dirty="0">
              <a:solidFill>
                <a:srgbClr val="001F5F"/>
              </a:solidFill>
            </a:endParaRPr>
          </a:p>
        </p:txBody>
      </p:sp>
    </p:spTree>
    <p:extLst>
      <p:ext uri="{BB962C8B-B14F-4D97-AF65-F5344CB8AC3E}">
        <p14:creationId xmlns:p14="http://schemas.microsoft.com/office/powerpoint/2010/main" val="218271228"/>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4" r:id="rId3"/>
    <p:sldLayoutId id="2147483855" r:id="rId4"/>
    <p:sldLayoutId id="2147483856" r:id="rId5"/>
    <p:sldLayoutId id="2147483857" r:id="rId6"/>
    <p:sldLayoutId id="2147483858" r:id="rId7"/>
    <p:sldLayoutId id="2147483859" r:id="rId8"/>
    <p:sldLayoutId id="2147483860" r:id="rId9"/>
  </p:sldLayoutIdLst>
  <p:timing>
    <p:tnLst>
      <p:par>
        <p:cTn id="1" dur="indefinite" restart="never" nodeType="tmRoot"/>
      </p:par>
    </p:tnLst>
  </p:timing>
  <p:hf hdr="0" ftr="0" dt="0"/>
  <p:txStyles>
    <p:titleStyle>
      <a:lvl1pPr eaLnBrk="1" hangingPunct="1">
        <a:defRPr sz="2215">
          <a:solidFill>
            <a:schemeClr val="accent1"/>
          </a:solidFill>
          <a:latin typeface="+mj-lt"/>
          <a:ea typeface="+mj-ea"/>
          <a:cs typeface="+mj-cs"/>
        </a:defRPr>
      </a:lvl1pPr>
    </p:titleStyle>
    <p:body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bodyStyle>
    <p:otherStyle>
      <a:lvl1pPr marL="0" eaLnBrk="1" hangingPunct="1">
        <a:defRPr>
          <a:latin typeface="+mn-lt"/>
          <a:ea typeface="+mn-ea"/>
          <a:cs typeface="+mn-cs"/>
        </a:defRPr>
      </a:lvl1pPr>
      <a:lvl2pPr marL="422041" eaLnBrk="1" hangingPunct="1">
        <a:defRPr>
          <a:latin typeface="+mn-lt"/>
          <a:ea typeface="+mn-ea"/>
          <a:cs typeface="+mn-cs"/>
        </a:defRPr>
      </a:lvl2pPr>
      <a:lvl3pPr marL="844083" eaLnBrk="1" hangingPunct="1">
        <a:defRPr>
          <a:latin typeface="+mn-lt"/>
          <a:ea typeface="+mn-ea"/>
          <a:cs typeface="+mn-cs"/>
        </a:defRPr>
      </a:lvl3pPr>
      <a:lvl4pPr marL="1266124" eaLnBrk="1" hangingPunct="1">
        <a:defRPr>
          <a:latin typeface="+mn-lt"/>
          <a:ea typeface="+mn-ea"/>
          <a:cs typeface="+mn-cs"/>
        </a:defRPr>
      </a:lvl4pPr>
      <a:lvl5pPr marL="1688165" eaLnBrk="1" hangingPunct="1">
        <a:defRPr>
          <a:latin typeface="+mn-lt"/>
          <a:ea typeface="+mn-ea"/>
          <a:cs typeface="+mn-cs"/>
        </a:defRPr>
      </a:lvl5pPr>
      <a:lvl6pPr marL="2110207" eaLnBrk="1" hangingPunct="1">
        <a:defRPr>
          <a:latin typeface="+mn-lt"/>
          <a:ea typeface="+mn-ea"/>
          <a:cs typeface="+mn-cs"/>
        </a:defRPr>
      </a:lvl6pPr>
      <a:lvl7pPr marL="2532248" eaLnBrk="1" hangingPunct="1">
        <a:defRPr>
          <a:latin typeface="+mn-lt"/>
          <a:ea typeface="+mn-ea"/>
          <a:cs typeface="+mn-cs"/>
        </a:defRPr>
      </a:lvl7pPr>
      <a:lvl8pPr marL="2954289" eaLnBrk="1" hangingPunct="1">
        <a:defRPr>
          <a:latin typeface="+mn-lt"/>
          <a:ea typeface="+mn-ea"/>
          <a:cs typeface="+mn-cs"/>
        </a:defRPr>
      </a:lvl8pPr>
      <a:lvl9pPr marL="3376331" eaLnBrk="1" hangingPunct="1">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png"/><Relationship Id="rId9"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4.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21.emf"/><Relationship Id="rId18" Type="http://schemas.openxmlformats.org/officeDocument/2006/relationships/image" Target="../media/image26.emf"/><Relationship Id="rId26" Type="http://schemas.openxmlformats.org/officeDocument/2006/relationships/image" Target="../media/image34.emf"/><Relationship Id="rId3" Type="http://schemas.openxmlformats.org/officeDocument/2006/relationships/tags" Target="../tags/tag18.xml"/><Relationship Id="rId21" Type="http://schemas.openxmlformats.org/officeDocument/2006/relationships/image" Target="../media/image29.emf"/><Relationship Id="rId7" Type="http://schemas.openxmlformats.org/officeDocument/2006/relationships/oleObject" Target="../embeddings/oleObject15.bin"/><Relationship Id="rId12" Type="http://schemas.openxmlformats.org/officeDocument/2006/relationships/image" Target="../media/image20.emf"/><Relationship Id="rId17" Type="http://schemas.openxmlformats.org/officeDocument/2006/relationships/image" Target="../media/image25.emf"/><Relationship Id="rId25" Type="http://schemas.openxmlformats.org/officeDocument/2006/relationships/image" Target="../media/image33.png"/><Relationship Id="rId2" Type="http://schemas.openxmlformats.org/officeDocument/2006/relationships/tags" Target="../tags/tag17.xml"/><Relationship Id="rId16" Type="http://schemas.openxmlformats.org/officeDocument/2006/relationships/image" Target="../media/image24.emf"/><Relationship Id="rId20" Type="http://schemas.openxmlformats.org/officeDocument/2006/relationships/image" Target="../media/image28.emf"/><Relationship Id="rId1" Type="http://schemas.openxmlformats.org/officeDocument/2006/relationships/vmlDrawing" Target="../drawings/vmlDrawing15.vml"/><Relationship Id="rId6" Type="http://schemas.openxmlformats.org/officeDocument/2006/relationships/notesSlide" Target="../notesSlides/notesSlide4.xml"/><Relationship Id="rId11" Type="http://schemas.openxmlformats.org/officeDocument/2006/relationships/image" Target="../media/image19.emf"/><Relationship Id="rId24" Type="http://schemas.openxmlformats.org/officeDocument/2006/relationships/image" Target="../media/image32.emf"/><Relationship Id="rId5" Type="http://schemas.openxmlformats.org/officeDocument/2006/relationships/slideLayout" Target="../slideLayouts/slideLayout13.xml"/><Relationship Id="rId15" Type="http://schemas.openxmlformats.org/officeDocument/2006/relationships/image" Target="../media/image23.emf"/><Relationship Id="rId23" Type="http://schemas.openxmlformats.org/officeDocument/2006/relationships/image" Target="../media/image31.emf"/><Relationship Id="rId10" Type="http://schemas.openxmlformats.org/officeDocument/2006/relationships/image" Target="../media/image18.emf"/><Relationship Id="rId19" Type="http://schemas.openxmlformats.org/officeDocument/2006/relationships/image" Target="../media/image27.emf"/><Relationship Id="rId4" Type="http://schemas.openxmlformats.org/officeDocument/2006/relationships/tags" Target="../tags/tag19.xml"/><Relationship Id="rId9" Type="http://schemas.openxmlformats.org/officeDocument/2006/relationships/image" Target="../media/image17.png"/><Relationship Id="rId14" Type="http://schemas.openxmlformats.org/officeDocument/2006/relationships/image" Target="../media/image22.emf"/><Relationship Id="rId22" Type="http://schemas.openxmlformats.org/officeDocument/2006/relationships/image" Target="../media/image30.emf"/></Relationships>
</file>

<file path=ppt/slides/_rels/slide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1.xml"/><Relationship Id="rId7" Type="http://schemas.openxmlformats.org/officeDocument/2006/relationships/image" Target="../media/image7.emf"/><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image" Target="../media/image36.jpeg"/><Relationship Id="rId1" Type="http://schemas.openxmlformats.org/officeDocument/2006/relationships/slideLayout" Target="../slideLayouts/slideLayout1.xml"/><Relationship Id="rId4" Type="http://schemas.openxmlformats.org/officeDocument/2006/relationships/image" Target="../media/image38.png"/></Relationships>
</file>

<file path=ppt/slides/_rels/slide8.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6.xml"/><Relationship Id="rId4"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7.xml"/><Relationship Id="rId4"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949080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06"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Slide Number Placeholder 4"/>
          <p:cNvSpPr txBox="1">
            <a:spLocks/>
          </p:cNvSpPr>
          <p:nvPr/>
        </p:nvSpPr>
        <p:spPr>
          <a:xfrm>
            <a:off x="8920589" y="6542035"/>
            <a:ext cx="317500" cy="188913"/>
          </a:xfrm>
          <a:prstGeom prst="rect">
            <a:avLst/>
          </a:prstGeom>
        </p:spPr>
        <p:txBody>
          <a:bodyP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a:defRPr/>
            </a:pPr>
            <a:fld id="{ACAC583F-A320-4755-A148-4B03D13D5D56}" type="slidenum">
              <a:rPr lang="en-GB" sz="800" b="1" smtClean="0"/>
              <a:pPr>
                <a:defRPr/>
              </a:pPr>
              <a:t>1</a:t>
            </a:fld>
            <a:endParaRPr lang="en-GB" sz="800" b="1" dirty="0"/>
          </a:p>
        </p:txBody>
      </p:sp>
      <p:sp>
        <p:nvSpPr>
          <p:cNvPr id="8" name="Subtitle 2"/>
          <p:cNvSpPr txBox="1">
            <a:spLocks/>
          </p:cNvSpPr>
          <p:nvPr/>
        </p:nvSpPr>
        <p:spPr bwMode="auto">
          <a:xfrm>
            <a:off x="5437573" y="5781480"/>
            <a:ext cx="3200400" cy="370892"/>
          </a:xfrm>
          <a:prstGeom prst="rect">
            <a:avLst/>
          </a:prstGeom>
          <a:pattFill prst="pct20">
            <a:fgClr>
              <a:srgbClr val="002060"/>
            </a:fgClr>
            <a:bgClr>
              <a:schemeClr val="bg1"/>
            </a:bgClr>
          </a:pattFill>
          <a:ln w="9525">
            <a:noFill/>
            <a:miter lim="800000"/>
            <a:headEnd/>
            <a:tailEnd/>
          </a:ln>
        </p:spPr>
        <p:txBody>
          <a:bodyPr vert="horz" wrap="square" lIns="91418" tIns="45709" rIns="91418" bIns="45709" numCol="1" anchor="ctr" anchorCtr="0" compatLnSpc="1">
            <a:prstTxWarp prst="textNoShape">
              <a:avLst/>
            </a:prstTxWarp>
            <a:noAutofit/>
          </a:bodyPr>
          <a:lstStyle>
            <a:defPPr>
              <a:defRPr lang="en-GB"/>
            </a:defPPr>
            <a:lvl1pPr marL="0" indent="0" algn="ctr">
              <a:lnSpc>
                <a:spcPct val="80000"/>
              </a:lnSpc>
              <a:spcBef>
                <a:spcPct val="40000"/>
              </a:spcBef>
              <a:buNone/>
              <a:defRPr sz="1600" kern="0">
                <a:solidFill>
                  <a:srgbClr val="002060"/>
                </a:solidFill>
                <a:latin typeface="+mn-lt"/>
                <a:ea typeface="+mn-ea"/>
                <a:cs typeface="+mn-cs"/>
              </a:defRPr>
            </a:lvl1pPr>
            <a:lvl2pPr marL="685800" indent="-228600">
              <a:lnSpc>
                <a:spcPct val="80000"/>
              </a:lnSpc>
              <a:spcBef>
                <a:spcPct val="40000"/>
              </a:spcBef>
              <a:buFont typeface="Arial" charset="0"/>
              <a:buChar char="–"/>
              <a:defRPr sz="2000">
                <a:solidFill>
                  <a:srgbClr val="4F81BD"/>
                </a:solidFill>
                <a:latin typeface="+mn-lt"/>
                <a:ea typeface="+mn-ea"/>
                <a:cs typeface="+mn-cs"/>
              </a:defRPr>
            </a:lvl2pPr>
            <a:lvl3pPr marL="1033463" indent="-233363">
              <a:lnSpc>
                <a:spcPct val="80000"/>
              </a:lnSpc>
              <a:spcBef>
                <a:spcPct val="40000"/>
              </a:spcBef>
              <a:buChar char="•"/>
              <a:defRPr sz="1400">
                <a:solidFill>
                  <a:srgbClr val="4F81BD"/>
                </a:solidFill>
                <a:latin typeface="+mn-lt"/>
                <a:ea typeface="+mn-ea"/>
                <a:cs typeface="+mn-cs"/>
              </a:defRPr>
            </a:lvl3pPr>
            <a:lvl4pPr indent="-223838">
              <a:lnSpc>
                <a:spcPct val="80000"/>
              </a:lnSpc>
              <a:spcBef>
                <a:spcPct val="40000"/>
              </a:spcBef>
              <a:buChar char="•"/>
              <a:defRPr sz="1200">
                <a:solidFill>
                  <a:srgbClr val="4F81BD"/>
                </a:solidFill>
                <a:latin typeface="+mn-lt"/>
                <a:ea typeface="+mn-ea"/>
                <a:cs typeface="+mn-cs"/>
              </a:defRPr>
            </a:lvl4pPr>
            <a:lvl5pPr marL="1719263" indent="-233363">
              <a:lnSpc>
                <a:spcPct val="80000"/>
              </a:lnSpc>
              <a:spcBef>
                <a:spcPct val="40000"/>
              </a:spcBef>
              <a:buChar char="•"/>
              <a:defRPr sz="1000">
                <a:solidFill>
                  <a:srgbClr val="4F81BD"/>
                </a:solidFill>
                <a:latin typeface="+mn-lt"/>
                <a:ea typeface="+mn-ea"/>
                <a:cs typeface="+mn-cs"/>
              </a:defRPr>
            </a:lvl5pPr>
            <a:lvl6pPr marL="2176463" indent="-233363" fontAlgn="base">
              <a:lnSpc>
                <a:spcPct val="80000"/>
              </a:lnSpc>
              <a:spcBef>
                <a:spcPct val="40000"/>
              </a:spcBef>
              <a:spcAft>
                <a:spcPct val="0"/>
              </a:spcAft>
              <a:buChar char="•"/>
              <a:defRPr sz="3200">
                <a:solidFill>
                  <a:schemeClr val="bg2"/>
                </a:solidFill>
                <a:latin typeface="+mn-lt"/>
                <a:ea typeface="+mn-ea"/>
                <a:cs typeface="+mn-cs"/>
              </a:defRPr>
            </a:lvl6pPr>
            <a:lvl7pPr marL="2633663" indent="-233363" fontAlgn="base">
              <a:lnSpc>
                <a:spcPct val="80000"/>
              </a:lnSpc>
              <a:spcBef>
                <a:spcPct val="40000"/>
              </a:spcBef>
              <a:spcAft>
                <a:spcPct val="0"/>
              </a:spcAft>
              <a:buChar char="•"/>
              <a:defRPr sz="3200">
                <a:solidFill>
                  <a:schemeClr val="bg2"/>
                </a:solidFill>
                <a:latin typeface="+mn-lt"/>
                <a:ea typeface="+mn-ea"/>
                <a:cs typeface="+mn-cs"/>
              </a:defRPr>
            </a:lvl7pPr>
            <a:lvl8pPr marL="3090863" indent="-233363" fontAlgn="base">
              <a:lnSpc>
                <a:spcPct val="80000"/>
              </a:lnSpc>
              <a:spcBef>
                <a:spcPct val="40000"/>
              </a:spcBef>
              <a:spcAft>
                <a:spcPct val="0"/>
              </a:spcAft>
              <a:buChar char="•"/>
              <a:defRPr sz="3200">
                <a:solidFill>
                  <a:schemeClr val="bg2"/>
                </a:solidFill>
                <a:latin typeface="+mn-lt"/>
                <a:ea typeface="+mn-ea"/>
                <a:cs typeface="+mn-cs"/>
              </a:defRPr>
            </a:lvl8pPr>
            <a:lvl9pPr marL="3548063" indent="-233363" fontAlgn="base">
              <a:lnSpc>
                <a:spcPct val="80000"/>
              </a:lnSpc>
              <a:spcBef>
                <a:spcPct val="40000"/>
              </a:spcBef>
              <a:spcAft>
                <a:spcPct val="0"/>
              </a:spcAft>
              <a:buChar char="•"/>
              <a:defRPr sz="3200">
                <a:solidFill>
                  <a:schemeClr val="bg2"/>
                </a:solidFill>
                <a:latin typeface="+mn-lt"/>
                <a:ea typeface="+mn-ea"/>
                <a:cs typeface="+mn-cs"/>
              </a:defRPr>
            </a:lvl9pPr>
          </a:lstStyle>
          <a:p>
            <a:r>
              <a:rPr lang="en-US" dirty="0"/>
              <a:t>17 May </a:t>
            </a:r>
            <a:r>
              <a:rPr lang="el-GR" dirty="0"/>
              <a:t>201</a:t>
            </a:r>
            <a:r>
              <a:rPr lang="en-US" dirty="0"/>
              <a:t>9</a:t>
            </a:r>
            <a:endParaRPr lang="el-GR" dirty="0"/>
          </a:p>
        </p:txBody>
      </p:sp>
      <p:sp>
        <p:nvSpPr>
          <p:cNvPr id="9" name="Title 1"/>
          <p:cNvSpPr txBox="1">
            <a:spLocks/>
          </p:cNvSpPr>
          <p:nvPr/>
        </p:nvSpPr>
        <p:spPr bwMode="auto">
          <a:xfrm>
            <a:off x="905522" y="1300848"/>
            <a:ext cx="7585335" cy="2864752"/>
          </a:xfrm>
          <a:prstGeom prst="rect">
            <a:avLst/>
          </a:prstGeom>
          <a:noFill/>
          <a:ln w="95250" cmpd="thickThin">
            <a:solidFill>
              <a:srgbClr val="0070C0"/>
            </a:solidFill>
            <a:miter lim="800000"/>
            <a:headEnd/>
            <a:tailEnd/>
          </a:ln>
        </p:spPr>
        <p:txBody>
          <a:bodyPr vert="horz" wrap="square" lIns="91418" tIns="45709" rIns="91418" bIns="45709" numCol="1" anchor="ctr" anchorCtr="0" compatLnSpc="1">
            <a:prstTxWarp prst="textNoShape">
              <a:avLst/>
            </a:prstTxWarp>
            <a:normAutofit/>
          </a:bodyPr>
          <a:lstStyle>
            <a:lvl1pPr marL="0" indent="0" algn="l" rtl="0" eaLnBrk="0" fontAlgn="base" hangingPunct="0">
              <a:lnSpc>
                <a:spcPct val="80000"/>
              </a:lnSpc>
              <a:spcBef>
                <a:spcPct val="0"/>
              </a:spcBef>
              <a:spcAft>
                <a:spcPct val="0"/>
              </a:spcAft>
              <a:buFontTx/>
              <a:buNone/>
              <a:defRPr lang="en-US" altLang="zh-TW" sz="2000" kern="1200">
                <a:solidFill>
                  <a:srgbClr val="1F497D"/>
                </a:solidFill>
                <a:latin typeface="+mn-lt"/>
                <a:ea typeface="Arial Unicode MS" charset="0"/>
                <a:cs typeface="CMCatalogue-Light"/>
              </a:defRPr>
            </a:lvl1pPr>
            <a:lvl2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2pPr>
            <a:lvl3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3pPr>
            <a:lvl4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4pPr>
            <a:lvl5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5pPr>
            <a:lvl6pPr marL="4572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pPr algn="ctr">
              <a:spcBef>
                <a:spcPts val="600"/>
              </a:spcBef>
            </a:pPr>
            <a:r>
              <a:rPr lang="en-US" sz="3600" dirty="0" smtClean="0">
                <a:solidFill>
                  <a:srgbClr val="002060"/>
                </a:solidFill>
                <a:effectLst>
                  <a:outerShdw blurRad="38100" dist="38100" dir="2700000" algn="tl">
                    <a:srgbClr val="000000">
                      <a:alpha val="43137"/>
                    </a:srgbClr>
                  </a:outerShdw>
                </a:effectLst>
              </a:rPr>
              <a:t>Public Power Corporation </a:t>
            </a:r>
          </a:p>
          <a:p>
            <a:pPr algn="ctr"/>
            <a:endParaRPr lang="en-US" sz="3600" dirty="0" smtClean="0">
              <a:solidFill>
                <a:srgbClr val="002060"/>
              </a:solidFill>
              <a:effectLst>
                <a:outerShdw blurRad="38100" dist="38100" dir="2700000" algn="tl">
                  <a:srgbClr val="000000">
                    <a:alpha val="43137"/>
                  </a:srgbClr>
                </a:outerShdw>
              </a:effectLst>
            </a:endParaRPr>
          </a:p>
          <a:p>
            <a:pPr algn="ctr"/>
            <a:r>
              <a:rPr lang="en-US" sz="2800" dirty="0" smtClean="0">
                <a:solidFill>
                  <a:srgbClr val="002060"/>
                </a:solidFill>
                <a:effectLst>
                  <a:outerShdw blurRad="38100" dist="38100" dir="2700000" algn="tl">
                    <a:srgbClr val="000000">
                      <a:alpha val="43137"/>
                    </a:srgbClr>
                  </a:outerShdw>
                </a:effectLst>
              </a:rPr>
              <a:t>and the   </a:t>
            </a:r>
            <a:r>
              <a:rPr lang="en-US" sz="3600" dirty="0" smtClean="0"/>
              <a:t/>
            </a:r>
            <a:br>
              <a:rPr lang="en-US" sz="3600" dirty="0" smtClean="0"/>
            </a:br>
            <a:r>
              <a:rPr lang="en-US" sz="3600" dirty="0" smtClean="0"/>
              <a:t/>
            </a:r>
            <a:br>
              <a:rPr lang="en-US" sz="3600" dirty="0" smtClean="0"/>
            </a:br>
            <a:r>
              <a:rPr lang="en-US" altLang="zh-TW" sz="3600" dirty="0">
                <a:solidFill>
                  <a:srgbClr val="002060"/>
                </a:solidFill>
                <a:effectLst>
                  <a:outerShdw blurRad="38100" dist="38100" dir="2700000" algn="tl">
                    <a:srgbClr val="000000">
                      <a:alpha val="43137"/>
                    </a:srgbClr>
                  </a:outerShdw>
                </a:effectLst>
              </a:rPr>
              <a:t>Energy Transition</a:t>
            </a:r>
            <a:r>
              <a:rPr lang="en-US" sz="4400" dirty="0" smtClean="0"/>
              <a:t/>
            </a:r>
            <a:br>
              <a:rPr lang="en-US" sz="4400" dirty="0" smtClean="0"/>
            </a:br>
            <a:endParaRPr lang="en-US" sz="1400" dirty="0"/>
          </a:p>
        </p:txBody>
      </p:sp>
      <p:sp>
        <p:nvSpPr>
          <p:cNvPr id="7" name="Subtitle 2"/>
          <p:cNvSpPr txBox="1">
            <a:spLocks/>
          </p:cNvSpPr>
          <p:nvPr/>
        </p:nvSpPr>
        <p:spPr bwMode="auto">
          <a:xfrm>
            <a:off x="905522" y="4569518"/>
            <a:ext cx="7732451" cy="555380"/>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noAutofit/>
          </a:bodyPr>
          <a:lstStyle>
            <a:lvl1pPr marL="228600" indent="-228600" algn="l" rtl="0" eaLnBrk="0" fontAlgn="base" hangingPunct="0">
              <a:lnSpc>
                <a:spcPct val="80000"/>
              </a:lnSpc>
              <a:spcBef>
                <a:spcPct val="40000"/>
              </a:spcBef>
              <a:spcAft>
                <a:spcPct val="0"/>
              </a:spcAft>
              <a:buChar char="•"/>
              <a:defRPr sz="1800">
                <a:solidFill>
                  <a:srgbClr val="4F81BD"/>
                </a:solidFill>
                <a:latin typeface="+mn-lt"/>
                <a:ea typeface="+mn-ea"/>
                <a:cs typeface="+mn-cs"/>
              </a:defRPr>
            </a:lvl1pPr>
            <a:lvl2pPr marL="685800" indent="-228600" algn="l" rtl="0" eaLnBrk="0" fontAlgn="base" hangingPunct="0">
              <a:lnSpc>
                <a:spcPct val="80000"/>
              </a:lnSpc>
              <a:spcBef>
                <a:spcPct val="40000"/>
              </a:spcBef>
              <a:spcAft>
                <a:spcPct val="0"/>
              </a:spcAft>
              <a:buFont typeface="Arial" charset="0"/>
              <a:buChar char="–"/>
              <a:defRPr sz="2000">
                <a:solidFill>
                  <a:srgbClr val="4F81BD"/>
                </a:solidFill>
                <a:latin typeface="+mn-lt"/>
                <a:ea typeface="+mn-ea"/>
                <a:cs typeface="+mn-cs"/>
              </a:defRPr>
            </a:lvl2pPr>
            <a:lvl3pPr marL="1033463" indent="-233363" algn="l" rtl="0" eaLnBrk="0" fontAlgn="base" hangingPunct="0">
              <a:lnSpc>
                <a:spcPct val="80000"/>
              </a:lnSpc>
              <a:spcBef>
                <a:spcPct val="40000"/>
              </a:spcBef>
              <a:spcAft>
                <a:spcPct val="0"/>
              </a:spcAft>
              <a:buChar char="•"/>
              <a:defRPr sz="1400">
                <a:solidFill>
                  <a:srgbClr val="4F81BD"/>
                </a:solidFill>
                <a:latin typeface="+mn-lt"/>
                <a:ea typeface="+mn-ea"/>
                <a:cs typeface="+mn-cs"/>
              </a:defRPr>
            </a:lvl3pPr>
            <a:lvl4pPr marL="1371600" indent="-223838" algn="l" rtl="0" eaLnBrk="0" fontAlgn="base" hangingPunct="0">
              <a:lnSpc>
                <a:spcPct val="80000"/>
              </a:lnSpc>
              <a:spcBef>
                <a:spcPct val="40000"/>
              </a:spcBef>
              <a:spcAft>
                <a:spcPct val="0"/>
              </a:spcAft>
              <a:buChar char="•"/>
              <a:defRPr sz="1200">
                <a:solidFill>
                  <a:srgbClr val="4F81BD"/>
                </a:solidFill>
                <a:latin typeface="+mn-lt"/>
                <a:ea typeface="+mn-ea"/>
                <a:cs typeface="+mn-cs"/>
              </a:defRPr>
            </a:lvl4pPr>
            <a:lvl5pPr marL="1719263" indent="-233363" algn="l" rtl="0" eaLnBrk="0" fontAlgn="base" hangingPunct="0">
              <a:lnSpc>
                <a:spcPct val="80000"/>
              </a:lnSpc>
              <a:spcBef>
                <a:spcPct val="40000"/>
              </a:spcBef>
              <a:spcAft>
                <a:spcPct val="0"/>
              </a:spcAft>
              <a:buChar char="•"/>
              <a:defRPr sz="1000">
                <a:solidFill>
                  <a:srgbClr val="4F81BD"/>
                </a:solidFill>
                <a:latin typeface="+mn-lt"/>
                <a:ea typeface="+mn-ea"/>
                <a:cs typeface="+mn-cs"/>
              </a:defRPr>
            </a:lvl5pPr>
            <a:lvl6pPr marL="2176463" indent="-233363" algn="l" rtl="0" fontAlgn="base">
              <a:lnSpc>
                <a:spcPct val="80000"/>
              </a:lnSpc>
              <a:spcBef>
                <a:spcPct val="40000"/>
              </a:spcBef>
              <a:spcAft>
                <a:spcPct val="0"/>
              </a:spcAft>
              <a:buChar char="•"/>
              <a:defRPr sz="3200">
                <a:solidFill>
                  <a:schemeClr val="bg2"/>
                </a:solidFill>
                <a:latin typeface="+mn-lt"/>
                <a:ea typeface="+mn-ea"/>
                <a:cs typeface="+mn-cs"/>
              </a:defRPr>
            </a:lvl6pPr>
            <a:lvl7pPr marL="2633663" indent="-233363" algn="l" rtl="0" fontAlgn="base">
              <a:lnSpc>
                <a:spcPct val="80000"/>
              </a:lnSpc>
              <a:spcBef>
                <a:spcPct val="40000"/>
              </a:spcBef>
              <a:spcAft>
                <a:spcPct val="0"/>
              </a:spcAft>
              <a:buChar char="•"/>
              <a:defRPr sz="3200">
                <a:solidFill>
                  <a:schemeClr val="bg2"/>
                </a:solidFill>
                <a:latin typeface="+mn-lt"/>
                <a:ea typeface="+mn-ea"/>
                <a:cs typeface="+mn-cs"/>
              </a:defRPr>
            </a:lvl7pPr>
            <a:lvl8pPr marL="3090863" indent="-233363" algn="l" rtl="0" fontAlgn="base">
              <a:lnSpc>
                <a:spcPct val="80000"/>
              </a:lnSpc>
              <a:spcBef>
                <a:spcPct val="40000"/>
              </a:spcBef>
              <a:spcAft>
                <a:spcPct val="0"/>
              </a:spcAft>
              <a:buChar char="•"/>
              <a:defRPr sz="3200">
                <a:solidFill>
                  <a:schemeClr val="bg2"/>
                </a:solidFill>
                <a:latin typeface="+mn-lt"/>
                <a:ea typeface="+mn-ea"/>
                <a:cs typeface="+mn-cs"/>
              </a:defRPr>
            </a:lvl8pPr>
            <a:lvl9pPr marL="3548063" indent="-233363" algn="l" rtl="0" fontAlgn="base">
              <a:lnSpc>
                <a:spcPct val="80000"/>
              </a:lnSpc>
              <a:spcBef>
                <a:spcPct val="40000"/>
              </a:spcBef>
              <a:spcAft>
                <a:spcPct val="0"/>
              </a:spcAft>
              <a:buChar char="•"/>
              <a:defRPr sz="3200">
                <a:solidFill>
                  <a:schemeClr val="bg2"/>
                </a:solidFill>
                <a:latin typeface="+mn-lt"/>
                <a:ea typeface="+mn-ea"/>
                <a:cs typeface="+mn-cs"/>
              </a:defRPr>
            </a:lvl9pPr>
          </a:lstStyle>
          <a:p>
            <a:pPr marL="0" indent="0" algn="ctr">
              <a:buNone/>
            </a:pPr>
            <a:r>
              <a:rPr lang="en-US" kern="0" dirty="0">
                <a:solidFill>
                  <a:srgbClr val="002060"/>
                </a:solidFill>
              </a:rPr>
              <a:t>8th Regional Energy </a:t>
            </a:r>
            <a:r>
              <a:rPr lang="en-US" kern="0" dirty="0" smtClean="0">
                <a:solidFill>
                  <a:srgbClr val="002060"/>
                </a:solidFill>
              </a:rPr>
              <a:t>Conference </a:t>
            </a:r>
          </a:p>
          <a:p>
            <a:pPr marL="0" indent="0" algn="ctr">
              <a:buNone/>
            </a:pPr>
            <a:r>
              <a:rPr lang="en-US" sz="1400" kern="0" dirty="0" smtClean="0">
                <a:solidFill>
                  <a:srgbClr val="002060"/>
                </a:solidFill>
              </a:rPr>
              <a:t>“Today’s </a:t>
            </a:r>
            <a:r>
              <a:rPr lang="en-US" sz="1400" kern="0" dirty="0">
                <a:solidFill>
                  <a:srgbClr val="002060"/>
                </a:solidFill>
              </a:rPr>
              <a:t>Agenda of The Regional Energy Development – Priorities, Technologies, </a:t>
            </a:r>
            <a:r>
              <a:rPr lang="en-US" sz="1400" kern="0" dirty="0" smtClean="0">
                <a:solidFill>
                  <a:srgbClr val="002060"/>
                </a:solidFill>
              </a:rPr>
              <a:t>Markets”</a:t>
            </a:r>
            <a:endParaRPr lang="el-GR" sz="1400" kern="0" dirty="0" smtClean="0">
              <a:solidFill>
                <a:srgbClr val="002060"/>
              </a:solidFill>
            </a:endParaRPr>
          </a:p>
        </p:txBody>
      </p:sp>
      <p:sp>
        <p:nvSpPr>
          <p:cNvPr id="10" name="Subtitle 2"/>
          <p:cNvSpPr txBox="1">
            <a:spLocks/>
          </p:cNvSpPr>
          <p:nvPr/>
        </p:nvSpPr>
        <p:spPr bwMode="auto">
          <a:xfrm>
            <a:off x="905522" y="5781480"/>
            <a:ext cx="3200400" cy="370892"/>
          </a:xfrm>
          <a:prstGeom prst="rect">
            <a:avLst/>
          </a:prstGeom>
          <a:pattFill prst="pct20">
            <a:fgClr>
              <a:srgbClr val="002060"/>
            </a:fgClr>
            <a:bgClr>
              <a:schemeClr val="bg1"/>
            </a:bgClr>
          </a:pattFill>
          <a:ln w="9525">
            <a:noFill/>
            <a:miter lim="800000"/>
            <a:headEnd/>
            <a:tailEnd/>
          </a:ln>
        </p:spPr>
        <p:txBody>
          <a:bodyPr vert="horz" wrap="square" lIns="91418" tIns="45709" rIns="91418" bIns="45709" numCol="1" anchor="ctr" anchorCtr="0" compatLnSpc="1">
            <a:prstTxWarp prst="textNoShape">
              <a:avLst/>
            </a:prstTxWarp>
            <a:noAutofit/>
          </a:bodyPr>
          <a:lstStyle>
            <a:lvl1pPr marL="228600" indent="-228600" algn="l" rtl="0" eaLnBrk="0" fontAlgn="base" hangingPunct="0">
              <a:lnSpc>
                <a:spcPct val="80000"/>
              </a:lnSpc>
              <a:spcBef>
                <a:spcPct val="40000"/>
              </a:spcBef>
              <a:spcAft>
                <a:spcPct val="0"/>
              </a:spcAft>
              <a:buChar char="•"/>
              <a:defRPr sz="1800">
                <a:solidFill>
                  <a:srgbClr val="4F81BD"/>
                </a:solidFill>
                <a:latin typeface="+mn-lt"/>
                <a:ea typeface="+mn-ea"/>
                <a:cs typeface="+mn-cs"/>
              </a:defRPr>
            </a:lvl1pPr>
            <a:lvl2pPr marL="685800" indent="-228600" algn="l" rtl="0" eaLnBrk="0" fontAlgn="base" hangingPunct="0">
              <a:lnSpc>
                <a:spcPct val="80000"/>
              </a:lnSpc>
              <a:spcBef>
                <a:spcPct val="40000"/>
              </a:spcBef>
              <a:spcAft>
                <a:spcPct val="0"/>
              </a:spcAft>
              <a:buFont typeface="Arial" charset="0"/>
              <a:buChar char="–"/>
              <a:defRPr sz="2000">
                <a:solidFill>
                  <a:srgbClr val="4F81BD"/>
                </a:solidFill>
                <a:latin typeface="+mn-lt"/>
                <a:ea typeface="+mn-ea"/>
                <a:cs typeface="+mn-cs"/>
              </a:defRPr>
            </a:lvl2pPr>
            <a:lvl3pPr marL="1033463" indent="-233363" algn="l" rtl="0" eaLnBrk="0" fontAlgn="base" hangingPunct="0">
              <a:lnSpc>
                <a:spcPct val="80000"/>
              </a:lnSpc>
              <a:spcBef>
                <a:spcPct val="40000"/>
              </a:spcBef>
              <a:spcAft>
                <a:spcPct val="0"/>
              </a:spcAft>
              <a:buChar char="•"/>
              <a:defRPr sz="1400">
                <a:solidFill>
                  <a:srgbClr val="4F81BD"/>
                </a:solidFill>
                <a:latin typeface="+mn-lt"/>
                <a:ea typeface="+mn-ea"/>
                <a:cs typeface="+mn-cs"/>
              </a:defRPr>
            </a:lvl3pPr>
            <a:lvl4pPr marL="1371600" indent="-223838" algn="l" rtl="0" eaLnBrk="0" fontAlgn="base" hangingPunct="0">
              <a:lnSpc>
                <a:spcPct val="80000"/>
              </a:lnSpc>
              <a:spcBef>
                <a:spcPct val="40000"/>
              </a:spcBef>
              <a:spcAft>
                <a:spcPct val="0"/>
              </a:spcAft>
              <a:buChar char="•"/>
              <a:defRPr sz="1200">
                <a:solidFill>
                  <a:srgbClr val="4F81BD"/>
                </a:solidFill>
                <a:latin typeface="+mn-lt"/>
                <a:ea typeface="+mn-ea"/>
                <a:cs typeface="+mn-cs"/>
              </a:defRPr>
            </a:lvl4pPr>
            <a:lvl5pPr marL="1719263" indent="-233363" algn="l" rtl="0" eaLnBrk="0" fontAlgn="base" hangingPunct="0">
              <a:lnSpc>
                <a:spcPct val="80000"/>
              </a:lnSpc>
              <a:spcBef>
                <a:spcPct val="40000"/>
              </a:spcBef>
              <a:spcAft>
                <a:spcPct val="0"/>
              </a:spcAft>
              <a:buChar char="•"/>
              <a:defRPr sz="1000">
                <a:solidFill>
                  <a:srgbClr val="4F81BD"/>
                </a:solidFill>
                <a:latin typeface="+mn-lt"/>
                <a:ea typeface="+mn-ea"/>
                <a:cs typeface="+mn-cs"/>
              </a:defRPr>
            </a:lvl5pPr>
            <a:lvl6pPr marL="2176463" indent="-233363" algn="l" rtl="0" fontAlgn="base">
              <a:lnSpc>
                <a:spcPct val="80000"/>
              </a:lnSpc>
              <a:spcBef>
                <a:spcPct val="40000"/>
              </a:spcBef>
              <a:spcAft>
                <a:spcPct val="0"/>
              </a:spcAft>
              <a:buChar char="•"/>
              <a:defRPr sz="3200">
                <a:solidFill>
                  <a:schemeClr val="bg2"/>
                </a:solidFill>
                <a:latin typeface="+mn-lt"/>
                <a:ea typeface="+mn-ea"/>
                <a:cs typeface="+mn-cs"/>
              </a:defRPr>
            </a:lvl6pPr>
            <a:lvl7pPr marL="2633663" indent="-233363" algn="l" rtl="0" fontAlgn="base">
              <a:lnSpc>
                <a:spcPct val="80000"/>
              </a:lnSpc>
              <a:spcBef>
                <a:spcPct val="40000"/>
              </a:spcBef>
              <a:spcAft>
                <a:spcPct val="0"/>
              </a:spcAft>
              <a:buChar char="•"/>
              <a:defRPr sz="3200">
                <a:solidFill>
                  <a:schemeClr val="bg2"/>
                </a:solidFill>
                <a:latin typeface="+mn-lt"/>
                <a:ea typeface="+mn-ea"/>
                <a:cs typeface="+mn-cs"/>
              </a:defRPr>
            </a:lvl7pPr>
            <a:lvl8pPr marL="3090863" indent="-233363" algn="l" rtl="0" fontAlgn="base">
              <a:lnSpc>
                <a:spcPct val="80000"/>
              </a:lnSpc>
              <a:spcBef>
                <a:spcPct val="40000"/>
              </a:spcBef>
              <a:spcAft>
                <a:spcPct val="0"/>
              </a:spcAft>
              <a:buChar char="•"/>
              <a:defRPr sz="3200">
                <a:solidFill>
                  <a:schemeClr val="bg2"/>
                </a:solidFill>
                <a:latin typeface="+mn-lt"/>
                <a:ea typeface="+mn-ea"/>
                <a:cs typeface="+mn-cs"/>
              </a:defRPr>
            </a:lvl8pPr>
            <a:lvl9pPr marL="3548063" indent="-233363" algn="l" rtl="0" fontAlgn="base">
              <a:lnSpc>
                <a:spcPct val="80000"/>
              </a:lnSpc>
              <a:spcBef>
                <a:spcPct val="40000"/>
              </a:spcBef>
              <a:spcAft>
                <a:spcPct val="0"/>
              </a:spcAft>
              <a:buChar char="•"/>
              <a:defRPr sz="3200">
                <a:solidFill>
                  <a:schemeClr val="bg2"/>
                </a:solidFill>
                <a:latin typeface="+mn-lt"/>
                <a:ea typeface="+mn-ea"/>
                <a:cs typeface="+mn-cs"/>
              </a:defRPr>
            </a:lvl9pPr>
          </a:lstStyle>
          <a:p>
            <a:pPr marL="0" indent="0" algn="ctr">
              <a:buNone/>
            </a:pPr>
            <a:r>
              <a:rPr lang="en-US" sz="1600" kern="0" dirty="0">
                <a:solidFill>
                  <a:srgbClr val="002060"/>
                </a:solidFill>
              </a:rPr>
              <a:t>Sofia Hotel Balkan</a:t>
            </a:r>
            <a:endParaRPr lang="el-GR" sz="1600" kern="0" dirty="0" smtClean="0">
              <a:solidFill>
                <a:srgbClr val="002060"/>
              </a:solidFill>
            </a:endParaRPr>
          </a:p>
        </p:txBody>
      </p:sp>
    </p:spTree>
    <p:extLst>
      <p:ext uri="{BB962C8B-B14F-4D97-AF65-F5344CB8AC3E}">
        <p14:creationId xmlns:p14="http://schemas.microsoft.com/office/powerpoint/2010/main" val="5525519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202157" y="235311"/>
            <a:ext cx="7484643" cy="544618"/>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bodyPr>
          <a:lstStyle>
            <a:defPPr>
              <a:defRPr lang="en-GB"/>
            </a:defPPr>
            <a:lvl1pPr marL="0" indent="0">
              <a:lnSpc>
                <a:spcPct val="80000"/>
              </a:lnSpc>
              <a:buFontTx/>
              <a:buNone/>
              <a:defRPr sz="2000" b="1">
                <a:solidFill>
                  <a:srgbClr val="002060"/>
                </a:solidFill>
                <a:latin typeface="+mn-lt"/>
                <a:cs typeface="CMCatalogue-Light"/>
              </a:defRPr>
            </a:lvl1pPr>
            <a:lvl2pPr>
              <a:lnSpc>
                <a:spcPct val="90000"/>
              </a:lnSpc>
              <a:defRPr sz="2400">
                <a:solidFill>
                  <a:schemeClr val="bg2"/>
                </a:solidFill>
                <a:latin typeface="Arial Black" charset="0"/>
                <a:ea typeface="Arial Unicode MS" pitchFamily="-109" charset="0"/>
                <a:cs typeface="Arial Unicode MS" pitchFamily="-109" charset="0"/>
              </a:defRPr>
            </a:lvl2pPr>
            <a:lvl3pPr>
              <a:lnSpc>
                <a:spcPct val="90000"/>
              </a:lnSpc>
              <a:defRPr sz="2400">
                <a:solidFill>
                  <a:schemeClr val="bg2"/>
                </a:solidFill>
                <a:latin typeface="Arial Black" charset="0"/>
                <a:ea typeface="Arial Unicode MS" pitchFamily="-109" charset="0"/>
                <a:cs typeface="Arial Unicode MS" pitchFamily="-109" charset="0"/>
              </a:defRPr>
            </a:lvl3pPr>
            <a:lvl4pPr>
              <a:lnSpc>
                <a:spcPct val="90000"/>
              </a:lnSpc>
              <a:defRPr sz="2400">
                <a:solidFill>
                  <a:schemeClr val="bg2"/>
                </a:solidFill>
                <a:latin typeface="Arial Black" charset="0"/>
                <a:ea typeface="Arial Unicode MS" pitchFamily="-109" charset="0"/>
                <a:cs typeface="Arial Unicode MS" pitchFamily="-109" charset="0"/>
              </a:defRPr>
            </a:lvl4pPr>
            <a:lvl5pPr>
              <a:lnSpc>
                <a:spcPct val="90000"/>
              </a:lnSpc>
              <a:defRPr sz="2400">
                <a:solidFill>
                  <a:schemeClr val="bg2"/>
                </a:solidFill>
                <a:latin typeface="Arial Black" charset="0"/>
                <a:ea typeface="Arial Unicode MS" pitchFamily="-109" charset="0"/>
                <a:cs typeface="Arial Unicode MS" pitchFamily="-109" charset="0"/>
              </a:defRPr>
            </a:lvl5pPr>
            <a:lvl6pPr marL="4572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pPr>
              <a:lnSpc>
                <a:spcPct val="100000"/>
              </a:lnSpc>
            </a:pPr>
            <a:r>
              <a:rPr lang="en-US" dirty="0" smtClean="0"/>
              <a:t>Overcoming the energy transition challenges in Southeastern Europe</a:t>
            </a:r>
            <a:endParaRPr lang="el-GR" dirty="0"/>
          </a:p>
        </p:txBody>
      </p:sp>
      <p:sp>
        <p:nvSpPr>
          <p:cNvPr id="4" name="TextBox 3"/>
          <p:cNvSpPr txBox="1"/>
          <p:nvPr/>
        </p:nvSpPr>
        <p:spPr>
          <a:xfrm>
            <a:off x="618565" y="1627094"/>
            <a:ext cx="8068235" cy="2800767"/>
          </a:xfrm>
          <a:prstGeom prst="rect">
            <a:avLst/>
          </a:prstGeom>
          <a:noFill/>
          <a:ln w="34925" cmpd="thickThin">
            <a:solidFill>
              <a:srgbClr val="0070C0"/>
            </a:solidFill>
          </a:ln>
        </p:spPr>
        <p:txBody>
          <a:bodyPr wrap="square" rtlCol="0">
            <a:spAutoFit/>
          </a:bodyPr>
          <a:lstStyle/>
          <a:p>
            <a:endParaRPr lang="en-US" sz="1800" dirty="0" smtClean="0"/>
          </a:p>
          <a:p>
            <a:pPr marL="171450" indent="-171450">
              <a:spcAft>
                <a:spcPts val="1200"/>
              </a:spcAft>
              <a:buFont typeface="Arial" panose="020B0604020202020204" pitchFamily="34" charset="0"/>
              <a:buChar char="•"/>
            </a:pPr>
            <a:r>
              <a:rPr lang="en-US" sz="1800" dirty="0" smtClean="0">
                <a:solidFill>
                  <a:srgbClr val="1F487D"/>
                </a:solidFill>
              </a:rPr>
              <a:t>Geographical specificities</a:t>
            </a:r>
          </a:p>
          <a:p>
            <a:pPr marL="171450" indent="-171450">
              <a:spcAft>
                <a:spcPts val="1200"/>
              </a:spcAft>
              <a:buFont typeface="Arial" panose="020B0604020202020204" pitchFamily="34" charset="0"/>
              <a:buChar char="•"/>
            </a:pPr>
            <a:r>
              <a:rPr lang="en-US" sz="1800" dirty="0" smtClean="0">
                <a:solidFill>
                  <a:srgbClr val="1F487D"/>
                </a:solidFill>
              </a:rPr>
              <a:t>Security of supply issues</a:t>
            </a:r>
          </a:p>
          <a:p>
            <a:pPr marL="171450" indent="-171450">
              <a:spcAft>
                <a:spcPts val="1200"/>
              </a:spcAft>
              <a:buFont typeface="Arial" panose="020B0604020202020204" pitchFamily="34" charset="0"/>
              <a:buChar char="•"/>
            </a:pPr>
            <a:r>
              <a:rPr lang="en-US" sz="1800" dirty="0" smtClean="0">
                <a:solidFill>
                  <a:srgbClr val="1F487D"/>
                </a:solidFill>
              </a:rPr>
              <a:t>Energy poverty</a:t>
            </a:r>
          </a:p>
          <a:p>
            <a:pPr marL="171450" indent="-171450">
              <a:spcAft>
                <a:spcPts val="1200"/>
              </a:spcAft>
              <a:buFont typeface="Arial" panose="020B0604020202020204" pitchFamily="34" charset="0"/>
              <a:buChar char="•"/>
            </a:pPr>
            <a:r>
              <a:rPr lang="en-US" sz="1800" dirty="0" smtClean="0">
                <a:solidFill>
                  <a:srgbClr val="1F487D"/>
                </a:solidFill>
              </a:rPr>
              <a:t>Social aspect of the transition within the coal intensive regions </a:t>
            </a:r>
          </a:p>
          <a:p>
            <a:pPr marL="171450" indent="-171450">
              <a:spcAft>
                <a:spcPts val="1200"/>
              </a:spcAft>
              <a:buFont typeface="Arial" panose="020B0604020202020204" pitchFamily="34" charset="0"/>
              <a:buChar char="•"/>
            </a:pPr>
            <a:r>
              <a:rPr lang="en-US" sz="1800" dirty="0" smtClean="0">
                <a:solidFill>
                  <a:srgbClr val="1F487D"/>
                </a:solidFill>
              </a:rPr>
              <a:t>Geopolitical challenges </a:t>
            </a:r>
          </a:p>
          <a:p>
            <a:pPr>
              <a:spcAft>
                <a:spcPts val="1200"/>
              </a:spcAft>
            </a:pPr>
            <a:endParaRPr lang="en-US" sz="1800" dirty="0" smtClean="0">
              <a:solidFill>
                <a:srgbClr val="1F487D"/>
              </a:solidFill>
            </a:endParaRPr>
          </a:p>
        </p:txBody>
      </p:sp>
      <p:sp>
        <p:nvSpPr>
          <p:cNvPr id="5" name="AutoShape 3"/>
          <p:cNvSpPr>
            <a:spLocks noChangeArrowheads="1"/>
          </p:cNvSpPr>
          <p:nvPr/>
        </p:nvSpPr>
        <p:spPr bwMode="gray">
          <a:xfrm>
            <a:off x="618564" y="4667125"/>
            <a:ext cx="8068235" cy="1153103"/>
          </a:xfrm>
          <a:prstGeom prst="flowChartAlternateProcess">
            <a:avLst/>
          </a:prstGeom>
          <a:solidFill>
            <a:srgbClr val="1F487D"/>
          </a:solidFill>
          <a:ln>
            <a:noFill/>
          </a:ln>
          <a:extLst/>
        </p:spPr>
        <p:txBody>
          <a:bodyPr lIns="33231" tIns="33231" rIns="33231" bIns="33231" anchor="ctr"/>
          <a:lstStyle/>
          <a:p>
            <a:pPr eaLnBrk="1" fontAlgn="auto" hangingPunct="1">
              <a:lnSpc>
                <a:spcPct val="150000"/>
              </a:lnSpc>
              <a:spcBef>
                <a:spcPts val="0"/>
              </a:spcBef>
              <a:spcAft>
                <a:spcPts val="0"/>
              </a:spcAft>
            </a:pPr>
            <a:r>
              <a:rPr lang="en-US" sz="1600" b="1" dirty="0">
                <a:solidFill>
                  <a:schemeClr val="bg1"/>
                </a:solidFill>
                <a:latin typeface="+mn-lt"/>
                <a:ea typeface="Calibri" panose="020F0502020204030204" pitchFamily="34" charset="0"/>
                <a:cs typeface="Times New Roman" panose="02020603050405020304" pitchFamily="18" charset="0"/>
              </a:rPr>
              <a:t>PPC </a:t>
            </a:r>
            <a:r>
              <a:rPr lang="en-US" sz="1600" b="1" dirty="0" smtClean="0">
                <a:solidFill>
                  <a:schemeClr val="bg1"/>
                </a:solidFill>
                <a:latin typeface="+mn-lt"/>
                <a:ea typeface="Calibri" panose="020F0502020204030204" pitchFamily="34" charset="0"/>
                <a:cs typeface="Times New Roman" panose="02020603050405020304" pitchFamily="18" charset="0"/>
              </a:rPr>
              <a:t>is ready and willing to proactively engage in </a:t>
            </a:r>
            <a:r>
              <a:rPr lang="en-US" sz="1600" b="1" dirty="0">
                <a:solidFill>
                  <a:schemeClr val="bg1"/>
                </a:solidFill>
                <a:latin typeface="+mn-lt"/>
                <a:ea typeface="Calibri" panose="020F0502020204030204" pitchFamily="34" charset="0"/>
                <a:cs typeface="Times New Roman" panose="02020603050405020304" pitchFamily="18" charset="0"/>
              </a:rPr>
              <a:t>systematic cooperation with </a:t>
            </a:r>
            <a:r>
              <a:rPr lang="en-US" sz="1600" b="1" dirty="0" smtClean="0">
                <a:solidFill>
                  <a:schemeClr val="bg1"/>
                </a:solidFill>
                <a:latin typeface="+mn-lt"/>
                <a:ea typeface="Calibri" panose="020F0502020204030204" pitchFamily="34" charset="0"/>
                <a:cs typeface="Times New Roman" panose="02020603050405020304" pitchFamily="18" charset="0"/>
              </a:rPr>
              <a:t>all </a:t>
            </a:r>
            <a:r>
              <a:rPr lang="en-US" sz="1600" b="1" dirty="0">
                <a:solidFill>
                  <a:schemeClr val="bg1"/>
                </a:solidFill>
                <a:latin typeface="+mn-lt"/>
                <a:ea typeface="Calibri" panose="020F0502020204030204" pitchFamily="34" charset="0"/>
                <a:cs typeface="Times New Roman" panose="02020603050405020304" pitchFamily="18" charset="0"/>
              </a:rPr>
              <a:t>Southeastern European stakeholders to facilitate the transition in the </a:t>
            </a:r>
            <a:r>
              <a:rPr lang="en-US" sz="1600" b="1" dirty="0" smtClean="0">
                <a:solidFill>
                  <a:schemeClr val="bg1"/>
                </a:solidFill>
                <a:latin typeface="+mn-lt"/>
                <a:ea typeface="Calibri" panose="020F0502020204030204" pitchFamily="34" charset="0"/>
                <a:cs typeface="Times New Roman" panose="02020603050405020304" pitchFamily="18" charset="0"/>
              </a:rPr>
              <a:t>region</a:t>
            </a:r>
            <a:endParaRPr lang="en-US" sz="1600" b="1" dirty="0">
              <a:solidFill>
                <a:schemeClr val="bg1"/>
              </a:solidFill>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361116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6306" name="Picture 2" descr="Î£ÏÎ¹Ï ÎÏÏÎ­Ï ÏÎ¿Ï 2019 Î¸Î± ÎÎµÎ¹ÏÎ¿ÏÏÎ³Î®ÏÎµÎ¹ ÏÎ¿ Î ÏÏÏÎ¿ Î¥Î²ÏÎ¹Î´Î¹ÎºÏ ÎÏÎ³Î¿ ÏÎ·Ï ÎÎÎ ÎÎ½Î±Î½ÎµÏÏÎ¹Î¼ÎµÏ ÏÏÎ·Î½ ÎÎºÎ±ÏÎ¯Î±"/>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63478" y="1065319"/>
            <a:ext cx="7283371" cy="4078689"/>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1260629" y="1207363"/>
            <a:ext cx="6889072" cy="369332"/>
          </a:xfrm>
          <a:prstGeom prst="rect">
            <a:avLst/>
          </a:prstGeom>
          <a:noFill/>
        </p:spPr>
        <p:txBody>
          <a:bodyPr wrap="square" rtlCol="0">
            <a:spAutoFit/>
          </a:bodyPr>
          <a:lstStyle/>
          <a:p>
            <a:pPr algn="ctr"/>
            <a:r>
              <a:rPr lang="en-US" sz="1800" b="1" dirty="0" smtClean="0">
                <a:solidFill>
                  <a:schemeClr val="bg1"/>
                </a:solidFill>
              </a:rPr>
              <a:t>PPC’s Hybrid RES Plant on the island of Ikaria</a:t>
            </a:r>
          </a:p>
        </p:txBody>
      </p:sp>
      <p:sp>
        <p:nvSpPr>
          <p:cNvPr id="5" name="TextBox 4"/>
          <p:cNvSpPr txBox="1"/>
          <p:nvPr/>
        </p:nvSpPr>
        <p:spPr>
          <a:xfrm>
            <a:off x="1656894" y="5598729"/>
            <a:ext cx="6096541" cy="342723"/>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bodyPr>
          <a:lstStyle>
            <a:defPPr>
              <a:defRPr lang="en-GB"/>
            </a:defPPr>
            <a:lvl1pPr marL="0" indent="0">
              <a:lnSpc>
                <a:spcPct val="80000"/>
              </a:lnSpc>
              <a:buFontTx/>
              <a:buNone/>
              <a:defRPr sz="2000" b="1">
                <a:solidFill>
                  <a:srgbClr val="002060"/>
                </a:solidFill>
                <a:latin typeface="+mn-lt"/>
                <a:cs typeface="CMCatalogue-Light"/>
              </a:defRPr>
            </a:lvl1pPr>
            <a:lvl2pPr>
              <a:lnSpc>
                <a:spcPct val="90000"/>
              </a:lnSpc>
              <a:defRPr sz="2400">
                <a:solidFill>
                  <a:schemeClr val="bg2"/>
                </a:solidFill>
                <a:latin typeface="Arial Black" charset="0"/>
                <a:ea typeface="Arial Unicode MS" pitchFamily="-109" charset="0"/>
                <a:cs typeface="Arial Unicode MS" pitchFamily="-109" charset="0"/>
              </a:defRPr>
            </a:lvl2pPr>
            <a:lvl3pPr>
              <a:lnSpc>
                <a:spcPct val="90000"/>
              </a:lnSpc>
              <a:defRPr sz="2400">
                <a:solidFill>
                  <a:schemeClr val="bg2"/>
                </a:solidFill>
                <a:latin typeface="Arial Black" charset="0"/>
                <a:ea typeface="Arial Unicode MS" pitchFamily="-109" charset="0"/>
                <a:cs typeface="Arial Unicode MS" pitchFamily="-109" charset="0"/>
              </a:defRPr>
            </a:lvl3pPr>
            <a:lvl4pPr>
              <a:lnSpc>
                <a:spcPct val="90000"/>
              </a:lnSpc>
              <a:defRPr sz="2400">
                <a:solidFill>
                  <a:schemeClr val="bg2"/>
                </a:solidFill>
                <a:latin typeface="Arial Black" charset="0"/>
                <a:ea typeface="Arial Unicode MS" pitchFamily="-109" charset="0"/>
                <a:cs typeface="Arial Unicode MS" pitchFamily="-109" charset="0"/>
              </a:defRPr>
            </a:lvl4pPr>
            <a:lvl5pPr>
              <a:lnSpc>
                <a:spcPct val="90000"/>
              </a:lnSpc>
              <a:defRPr sz="2400">
                <a:solidFill>
                  <a:schemeClr val="bg2"/>
                </a:solidFill>
                <a:latin typeface="Arial Black" charset="0"/>
                <a:ea typeface="Arial Unicode MS" pitchFamily="-109" charset="0"/>
                <a:cs typeface="Arial Unicode MS" pitchFamily="-109" charset="0"/>
              </a:defRPr>
            </a:lvl5pPr>
            <a:lvl6pPr marL="4572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pPr algn="ctr"/>
            <a:r>
              <a:rPr lang="en-US" sz="2800" dirty="0" smtClean="0"/>
              <a:t>Thank you for your attention </a:t>
            </a:r>
            <a:endParaRPr lang="el-GR" sz="2800" dirty="0"/>
          </a:p>
        </p:txBody>
      </p:sp>
    </p:spTree>
    <p:extLst>
      <p:ext uri="{BB962C8B-B14F-4D97-AF65-F5344CB8AC3E}">
        <p14:creationId xmlns:p14="http://schemas.microsoft.com/office/powerpoint/2010/main" val="28085025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Θέση αριθμού διαφάνειας 3"/>
          <p:cNvSpPr>
            <a:spLocks noGrp="1"/>
          </p:cNvSpPr>
          <p:nvPr>
            <p:ph type="sldNum" sz="quarter" idx="4294967295"/>
          </p:nvPr>
        </p:nvSpPr>
        <p:spPr>
          <a:xfrm>
            <a:off x="8945753" y="6684894"/>
            <a:ext cx="163829" cy="139700"/>
          </a:xfrm>
          <a:prstGeom prst="rect">
            <a:avLst/>
          </a:prstGeom>
        </p:spPr>
        <p:txBody>
          <a:bodyPr/>
          <a:lstStyle/>
          <a:p>
            <a:pPr marL="25400">
              <a:lnSpc>
                <a:spcPct val="100000"/>
              </a:lnSpc>
              <a:spcBef>
                <a:spcPts val="25"/>
              </a:spcBef>
            </a:pPr>
            <a:fld id="{81D60167-4931-47E6-BA6A-407CBD079E47}" type="slidenum">
              <a:rPr lang="el-GR" smtClean="0"/>
              <a:t>2</a:t>
            </a:fld>
            <a:endParaRPr lang="el-GR" dirty="0"/>
          </a:p>
        </p:txBody>
      </p:sp>
      <p:sp>
        <p:nvSpPr>
          <p:cNvPr id="9" name="object 4"/>
          <p:cNvSpPr txBox="1">
            <a:spLocks/>
          </p:cNvSpPr>
          <p:nvPr/>
        </p:nvSpPr>
        <p:spPr>
          <a:xfrm>
            <a:off x="1258930" y="357803"/>
            <a:ext cx="4608470" cy="307777"/>
          </a:xfrm>
          <a:prstGeom prst="rect">
            <a:avLst/>
          </a:prstGeom>
        </p:spPr>
        <p:txBody>
          <a:bodyPr vert="horz" wrap="square" lIns="0" tIns="0" rIns="0" bIns="0" rtlCol="0">
            <a:spAutoFit/>
          </a:bodyPr>
          <a:lstStyle>
            <a:lvl1pPr>
              <a:defRPr sz="2800" b="1" i="0">
                <a:solidFill>
                  <a:srgbClr val="001F5F"/>
                </a:solidFill>
                <a:latin typeface="+mn-lt"/>
                <a:ea typeface="+mj-ea"/>
                <a:cs typeface="Arial"/>
              </a:defRPr>
            </a:lvl1pPr>
          </a:lstStyle>
          <a:p>
            <a:pPr marL="12700"/>
            <a:r>
              <a:rPr lang="en-US" sz="2000" kern="0" dirty="0" smtClean="0"/>
              <a:t>   PPC’s PROFILE</a:t>
            </a:r>
            <a:endParaRPr lang="en-US" sz="2000" kern="0" dirty="0"/>
          </a:p>
        </p:txBody>
      </p:sp>
      <p:sp>
        <p:nvSpPr>
          <p:cNvPr id="11" name="object 6"/>
          <p:cNvSpPr/>
          <p:nvPr/>
        </p:nvSpPr>
        <p:spPr>
          <a:xfrm>
            <a:off x="1994916" y="1569720"/>
            <a:ext cx="2446019" cy="2093975"/>
          </a:xfrm>
          <a:prstGeom prst="rect">
            <a:avLst/>
          </a:prstGeom>
          <a:blipFill>
            <a:blip r:embed="rId3" cstate="print"/>
            <a:stretch>
              <a:fillRect/>
            </a:stretch>
          </a:blipFill>
        </p:spPr>
        <p:txBody>
          <a:bodyPr wrap="square" lIns="0" tIns="0" rIns="0" bIns="0" rtlCol="0"/>
          <a:lstStyle/>
          <a:p>
            <a:endParaRPr/>
          </a:p>
        </p:txBody>
      </p:sp>
      <p:sp>
        <p:nvSpPr>
          <p:cNvPr id="12" name="object 7"/>
          <p:cNvSpPr/>
          <p:nvPr/>
        </p:nvSpPr>
        <p:spPr>
          <a:xfrm>
            <a:off x="1994916" y="3540251"/>
            <a:ext cx="2438399" cy="2074163"/>
          </a:xfrm>
          <a:prstGeom prst="rect">
            <a:avLst/>
          </a:prstGeom>
          <a:blipFill>
            <a:blip r:embed="rId4" cstate="print"/>
            <a:stretch>
              <a:fillRect/>
            </a:stretch>
          </a:blipFill>
        </p:spPr>
        <p:txBody>
          <a:bodyPr wrap="square" lIns="0" tIns="0" rIns="0" bIns="0" rtlCol="0"/>
          <a:lstStyle/>
          <a:p>
            <a:endParaRPr/>
          </a:p>
        </p:txBody>
      </p:sp>
      <p:sp>
        <p:nvSpPr>
          <p:cNvPr id="13" name="object 8"/>
          <p:cNvSpPr/>
          <p:nvPr/>
        </p:nvSpPr>
        <p:spPr>
          <a:xfrm>
            <a:off x="4285488" y="3566159"/>
            <a:ext cx="2618231" cy="2092451"/>
          </a:xfrm>
          <a:prstGeom prst="rect">
            <a:avLst/>
          </a:prstGeom>
          <a:blipFill>
            <a:blip r:embed="rId5" cstate="print"/>
            <a:stretch>
              <a:fillRect/>
            </a:stretch>
          </a:blipFill>
        </p:spPr>
        <p:txBody>
          <a:bodyPr wrap="square" lIns="0" tIns="0" rIns="0" bIns="0" rtlCol="0"/>
          <a:lstStyle/>
          <a:p>
            <a:endParaRPr/>
          </a:p>
        </p:txBody>
      </p:sp>
      <p:sp>
        <p:nvSpPr>
          <p:cNvPr id="14" name="object 9"/>
          <p:cNvSpPr/>
          <p:nvPr/>
        </p:nvSpPr>
        <p:spPr>
          <a:xfrm>
            <a:off x="4294632" y="1527047"/>
            <a:ext cx="2612135" cy="2164079"/>
          </a:xfrm>
          <a:prstGeom prst="rect">
            <a:avLst/>
          </a:prstGeom>
          <a:blipFill>
            <a:blip r:embed="rId6" cstate="print"/>
            <a:stretch>
              <a:fillRect/>
            </a:stretch>
          </a:blipFill>
        </p:spPr>
        <p:txBody>
          <a:bodyPr wrap="square" lIns="0" tIns="0" rIns="0" bIns="0" rtlCol="0"/>
          <a:lstStyle/>
          <a:p>
            <a:endParaRPr/>
          </a:p>
        </p:txBody>
      </p:sp>
      <p:sp>
        <p:nvSpPr>
          <p:cNvPr id="15" name="object 10"/>
          <p:cNvSpPr/>
          <p:nvPr/>
        </p:nvSpPr>
        <p:spPr>
          <a:xfrm>
            <a:off x="3168396" y="2357640"/>
            <a:ext cx="2439923" cy="2334755"/>
          </a:xfrm>
          <a:prstGeom prst="rect">
            <a:avLst/>
          </a:prstGeom>
          <a:blipFill>
            <a:blip r:embed="rId7" cstate="print"/>
            <a:stretch>
              <a:fillRect/>
            </a:stretch>
          </a:blipFill>
        </p:spPr>
        <p:txBody>
          <a:bodyPr wrap="square" lIns="0" tIns="0" rIns="0" bIns="0" rtlCol="0"/>
          <a:lstStyle/>
          <a:p>
            <a:endParaRPr/>
          </a:p>
        </p:txBody>
      </p:sp>
      <p:sp>
        <p:nvSpPr>
          <p:cNvPr id="16" name="object 11"/>
          <p:cNvSpPr txBox="1"/>
          <p:nvPr/>
        </p:nvSpPr>
        <p:spPr>
          <a:xfrm>
            <a:off x="3559999" y="2891026"/>
            <a:ext cx="1603375" cy="1158779"/>
          </a:xfrm>
          <a:prstGeom prst="rect">
            <a:avLst/>
          </a:prstGeom>
        </p:spPr>
        <p:txBody>
          <a:bodyPr vert="horz" wrap="square" lIns="0" tIns="0" rIns="0" bIns="0" rtlCol="0">
            <a:spAutoFit/>
          </a:bodyPr>
          <a:lstStyle/>
          <a:p>
            <a:pPr marL="1270" algn="ctr">
              <a:lnSpc>
                <a:spcPct val="100000"/>
              </a:lnSpc>
            </a:pPr>
            <a:r>
              <a:rPr sz="1300" b="1" spc="-45" dirty="0">
                <a:solidFill>
                  <a:srgbClr val="FFFFFF"/>
                </a:solidFill>
                <a:latin typeface="Arial"/>
                <a:cs typeface="Arial"/>
              </a:rPr>
              <a:t>T</a:t>
            </a:r>
            <a:r>
              <a:rPr sz="1300" b="1" spc="-10" dirty="0">
                <a:solidFill>
                  <a:srgbClr val="FFFFFF"/>
                </a:solidFill>
                <a:latin typeface="Arial"/>
                <a:cs typeface="Arial"/>
              </a:rPr>
              <a:t>u</a:t>
            </a:r>
            <a:r>
              <a:rPr sz="1300" b="1" spc="-5" dirty="0">
                <a:solidFill>
                  <a:srgbClr val="FFFFFF"/>
                </a:solidFill>
                <a:latin typeface="Arial"/>
                <a:cs typeface="Arial"/>
              </a:rPr>
              <a:t>r</a:t>
            </a:r>
            <a:r>
              <a:rPr sz="1300" b="1" spc="-10" dirty="0">
                <a:solidFill>
                  <a:srgbClr val="FFFFFF"/>
                </a:solidFill>
                <a:latin typeface="Arial"/>
                <a:cs typeface="Arial"/>
              </a:rPr>
              <a:t>no</a:t>
            </a:r>
            <a:r>
              <a:rPr sz="1300" b="1" spc="-20" dirty="0">
                <a:solidFill>
                  <a:srgbClr val="FFFFFF"/>
                </a:solidFill>
                <a:latin typeface="Arial"/>
                <a:cs typeface="Arial"/>
              </a:rPr>
              <a:t>v</a:t>
            </a:r>
            <a:r>
              <a:rPr sz="1300" b="1" spc="-10" dirty="0">
                <a:solidFill>
                  <a:srgbClr val="FFFFFF"/>
                </a:solidFill>
                <a:latin typeface="Arial"/>
                <a:cs typeface="Arial"/>
              </a:rPr>
              <a:t>e</a:t>
            </a:r>
            <a:r>
              <a:rPr sz="1300" b="1" spc="-5" dirty="0">
                <a:solidFill>
                  <a:srgbClr val="FFFFFF"/>
                </a:solidFill>
                <a:latin typeface="Arial"/>
                <a:cs typeface="Arial"/>
              </a:rPr>
              <a:t>r:</a:t>
            </a:r>
            <a:endParaRPr sz="1300" b="1" dirty="0">
              <a:latin typeface="Arial"/>
              <a:cs typeface="Arial"/>
            </a:endParaRPr>
          </a:p>
          <a:p>
            <a:pPr algn="ctr">
              <a:lnSpc>
                <a:spcPct val="100000"/>
              </a:lnSpc>
              <a:spcBef>
                <a:spcPts val="310"/>
              </a:spcBef>
            </a:pPr>
            <a:r>
              <a:rPr sz="1300" spc="-5" dirty="0">
                <a:solidFill>
                  <a:srgbClr val="FFFFFF"/>
                </a:solidFill>
                <a:latin typeface="Arial"/>
                <a:cs typeface="Arial"/>
              </a:rPr>
              <a:t>€ </a:t>
            </a:r>
            <a:r>
              <a:rPr sz="1300" spc="-10" dirty="0">
                <a:solidFill>
                  <a:srgbClr val="FFFFFF"/>
                </a:solidFill>
                <a:latin typeface="Arial"/>
                <a:cs typeface="Arial"/>
              </a:rPr>
              <a:t>4.94</a:t>
            </a:r>
            <a:r>
              <a:rPr sz="1300" spc="-5" dirty="0">
                <a:solidFill>
                  <a:srgbClr val="FFFFFF"/>
                </a:solidFill>
                <a:latin typeface="Arial"/>
                <a:cs typeface="Arial"/>
              </a:rPr>
              <a:t>4</a:t>
            </a:r>
            <a:r>
              <a:rPr sz="1300" spc="5" dirty="0">
                <a:solidFill>
                  <a:srgbClr val="FFFFFF"/>
                </a:solidFill>
                <a:latin typeface="Arial"/>
                <a:cs typeface="Arial"/>
              </a:rPr>
              <a:t> </a:t>
            </a:r>
            <a:r>
              <a:rPr sz="1300" spc="-5" dirty="0">
                <a:solidFill>
                  <a:srgbClr val="FFFFFF"/>
                </a:solidFill>
                <a:latin typeface="Arial"/>
                <a:cs typeface="Arial"/>
              </a:rPr>
              <a:t>million</a:t>
            </a:r>
            <a:endParaRPr sz="1300" dirty="0">
              <a:latin typeface="Arial"/>
              <a:cs typeface="Arial"/>
            </a:endParaRPr>
          </a:p>
          <a:p>
            <a:pPr marL="114300" marR="107314" indent="1270" algn="ctr">
              <a:lnSpc>
                <a:spcPct val="119600"/>
              </a:lnSpc>
              <a:spcBef>
                <a:spcPts val="5"/>
              </a:spcBef>
            </a:pPr>
            <a:r>
              <a:rPr sz="1300" spc="-10" dirty="0">
                <a:solidFill>
                  <a:srgbClr val="FFFFFF"/>
                </a:solidFill>
                <a:latin typeface="Arial"/>
                <a:cs typeface="Arial"/>
              </a:rPr>
              <a:t>Pe</a:t>
            </a:r>
            <a:r>
              <a:rPr sz="1300" spc="-5" dirty="0">
                <a:solidFill>
                  <a:srgbClr val="FFFFFF"/>
                </a:solidFill>
                <a:latin typeface="Arial"/>
                <a:cs typeface="Arial"/>
              </a:rPr>
              <a:t>rs</a:t>
            </a:r>
            <a:r>
              <a:rPr sz="1300" spc="-10" dirty="0">
                <a:solidFill>
                  <a:srgbClr val="FFFFFF"/>
                </a:solidFill>
                <a:latin typeface="Arial"/>
                <a:cs typeface="Arial"/>
              </a:rPr>
              <a:t>onne</a:t>
            </a:r>
            <a:r>
              <a:rPr sz="1300" spc="-5" dirty="0">
                <a:solidFill>
                  <a:srgbClr val="FFFFFF"/>
                </a:solidFill>
                <a:latin typeface="Arial"/>
                <a:cs typeface="Arial"/>
              </a:rPr>
              <a:t>l:</a:t>
            </a:r>
            <a:r>
              <a:rPr sz="1300" spc="20" dirty="0">
                <a:solidFill>
                  <a:srgbClr val="FFFFFF"/>
                </a:solidFill>
                <a:latin typeface="Arial"/>
                <a:cs typeface="Arial"/>
              </a:rPr>
              <a:t> </a:t>
            </a:r>
            <a:r>
              <a:rPr sz="1300" spc="-10" dirty="0">
                <a:solidFill>
                  <a:srgbClr val="FFFFFF"/>
                </a:solidFill>
                <a:latin typeface="Arial"/>
                <a:cs typeface="Arial"/>
              </a:rPr>
              <a:t>17.519 Annua</a:t>
            </a:r>
            <a:r>
              <a:rPr sz="1300" spc="-5" dirty="0">
                <a:solidFill>
                  <a:srgbClr val="FFFFFF"/>
                </a:solidFill>
                <a:latin typeface="Arial"/>
                <a:cs typeface="Arial"/>
              </a:rPr>
              <a:t>l</a:t>
            </a:r>
            <a:r>
              <a:rPr sz="1300" spc="10" dirty="0">
                <a:solidFill>
                  <a:srgbClr val="FFFFFF"/>
                </a:solidFill>
                <a:latin typeface="Arial"/>
                <a:cs typeface="Arial"/>
              </a:rPr>
              <a:t> </a:t>
            </a:r>
            <a:r>
              <a:rPr sz="1300" spc="-10" dirty="0">
                <a:solidFill>
                  <a:srgbClr val="FFFFFF"/>
                </a:solidFill>
                <a:latin typeface="Arial"/>
                <a:cs typeface="Arial"/>
              </a:rPr>
              <a:t>p</a:t>
            </a:r>
            <a:r>
              <a:rPr sz="1300" spc="-5" dirty="0">
                <a:solidFill>
                  <a:srgbClr val="FFFFFF"/>
                </a:solidFill>
                <a:latin typeface="Arial"/>
                <a:cs typeface="Arial"/>
              </a:rPr>
              <a:t>r</a:t>
            </a:r>
            <a:r>
              <a:rPr sz="1300" spc="-10" dirty="0">
                <a:solidFill>
                  <a:srgbClr val="FFFFFF"/>
                </a:solidFill>
                <a:latin typeface="Arial"/>
                <a:cs typeface="Arial"/>
              </a:rPr>
              <a:t>odu</a:t>
            </a:r>
            <a:r>
              <a:rPr sz="1300" spc="-5" dirty="0">
                <a:solidFill>
                  <a:srgbClr val="FFFFFF"/>
                </a:solidFill>
                <a:latin typeface="Arial"/>
                <a:cs typeface="Arial"/>
              </a:rPr>
              <a:t>c</a:t>
            </a:r>
            <a:r>
              <a:rPr sz="1300" spc="-10" dirty="0">
                <a:solidFill>
                  <a:srgbClr val="FFFFFF"/>
                </a:solidFill>
                <a:latin typeface="Arial"/>
                <a:cs typeface="Arial"/>
              </a:rPr>
              <a:t>t</a:t>
            </a:r>
            <a:r>
              <a:rPr sz="1300" spc="-5" dirty="0">
                <a:solidFill>
                  <a:srgbClr val="FFFFFF"/>
                </a:solidFill>
                <a:latin typeface="Arial"/>
                <a:cs typeface="Arial"/>
              </a:rPr>
              <a:t>i</a:t>
            </a:r>
            <a:r>
              <a:rPr sz="1300" spc="-10" dirty="0">
                <a:solidFill>
                  <a:srgbClr val="FFFFFF"/>
                </a:solidFill>
                <a:latin typeface="Arial"/>
                <a:cs typeface="Arial"/>
              </a:rPr>
              <a:t>on</a:t>
            </a:r>
            <a:r>
              <a:rPr sz="1300" spc="-5" dirty="0">
                <a:solidFill>
                  <a:srgbClr val="FFFFFF"/>
                </a:solidFill>
                <a:latin typeface="Arial"/>
                <a:cs typeface="Arial"/>
              </a:rPr>
              <a:t>: </a:t>
            </a:r>
            <a:r>
              <a:rPr sz="1300" spc="-10" dirty="0">
                <a:solidFill>
                  <a:srgbClr val="FFFFFF"/>
                </a:solidFill>
                <a:latin typeface="Arial"/>
                <a:cs typeface="Arial"/>
              </a:rPr>
              <a:t>3</a:t>
            </a:r>
            <a:r>
              <a:rPr sz="1300" spc="-5" dirty="0">
                <a:solidFill>
                  <a:srgbClr val="FFFFFF"/>
                </a:solidFill>
                <a:latin typeface="Arial"/>
                <a:cs typeface="Arial"/>
              </a:rPr>
              <a:t>3</a:t>
            </a:r>
            <a:r>
              <a:rPr sz="1300" spc="-15" dirty="0">
                <a:solidFill>
                  <a:srgbClr val="FFFFFF"/>
                </a:solidFill>
                <a:latin typeface="Arial"/>
                <a:cs typeface="Arial"/>
              </a:rPr>
              <a:t> </a:t>
            </a:r>
            <a:r>
              <a:rPr sz="1300" spc="0" dirty="0" err="1" smtClean="0">
                <a:solidFill>
                  <a:srgbClr val="FFFFFF"/>
                </a:solidFill>
                <a:latin typeface="Arial"/>
                <a:cs typeface="Arial"/>
              </a:rPr>
              <a:t>T</a:t>
            </a:r>
            <a:r>
              <a:rPr sz="1300" spc="10" dirty="0" err="1" smtClean="0">
                <a:solidFill>
                  <a:srgbClr val="FFFFFF"/>
                </a:solidFill>
                <a:latin typeface="Arial"/>
                <a:cs typeface="Arial"/>
              </a:rPr>
              <a:t>W</a:t>
            </a:r>
            <a:r>
              <a:rPr sz="1300" spc="-5" dirty="0" err="1" smtClean="0">
                <a:solidFill>
                  <a:srgbClr val="FFFFFF"/>
                </a:solidFill>
                <a:latin typeface="Arial"/>
                <a:cs typeface="Arial"/>
              </a:rPr>
              <a:t>h</a:t>
            </a:r>
            <a:endParaRPr sz="1300" dirty="0">
              <a:latin typeface="Arial"/>
              <a:cs typeface="Arial"/>
            </a:endParaRPr>
          </a:p>
        </p:txBody>
      </p:sp>
      <p:sp>
        <p:nvSpPr>
          <p:cNvPr id="17" name="object 12"/>
          <p:cNvSpPr/>
          <p:nvPr/>
        </p:nvSpPr>
        <p:spPr>
          <a:xfrm>
            <a:off x="3617976" y="996695"/>
            <a:ext cx="1502663" cy="1435607"/>
          </a:xfrm>
          <a:prstGeom prst="rect">
            <a:avLst/>
          </a:prstGeom>
          <a:blipFill>
            <a:blip r:embed="rId8" cstate="print"/>
            <a:stretch>
              <a:fillRect/>
            </a:stretch>
          </a:blipFill>
        </p:spPr>
        <p:txBody>
          <a:bodyPr wrap="square" lIns="0" tIns="0" rIns="0" bIns="0" rtlCol="0"/>
          <a:lstStyle/>
          <a:p>
            <a:endParaRPr/>
          </a:p>
        </p:txBody>
      </p:sp>
      <p:sp>
        <p:nvSpPr>
          <p:cNvPr id="18" name="object 13"/>
          <p:cNvSpPr txBox="1"/>
          <p:nvPr/>
        </p:nvSpPr>
        <p:spPr>
          <a:xfrm>
            <a:off x="3867827" y="1172202"/>
            <a:ext cx="947419" cy="1004569"/>
          </a:xfrm>
          <a:prstGeom prst="rect">
            <a:avLst/>
          </a:prstGeom>
        </p:spPr>
        <p:txBody>
          <a:bodyPr vert="horz" wrap="square" lIns="0" tIns="0" rIns="0" bIns="0" rtlCol="0">
            <a:spAutoFit/>
          </a:bodyPr>
          <a:lstStyle/>
          <a:p>
            <a:pPr marL="635" algn="ctr">
              <a:lnSpc>
                <a:spcPct val="100000"/>
              </a:lnSpc>
            </a:pPr>
            <a:r>
              <a:rPr sz="1200" b="1" spc="-5" dirty="0">
                <a:solidFill>
                  <a:srgbClr val="FFFFFF"/>
                </a:solidFill>
                <a:latin typeface="Arial"/>
                <a:cs typeface="Arial"/>
              </a:rPr>
              <a:t>M</a:t>
            </a:r>
            <a:r>
              <a:rPr sz="1200" b="1" dirty="0">
                <a:solidFill>
                  <a:srgbClr val="FFFFFF"/>
                </a:solidFill>
                <a:latin typeface="Arial"/>
                <a:cs typeface="Arial"/>
              </a:rPr>
              <a:t>i</a:t>
            </a:r>
            <a:r>
              <a:rPr sz="1200" b="1" spc="-5" dirty="0">
                <a:solidFill>
                  <a:srgbClr val="FFFFFF"/>
                </a:solidFill>
                <a:latin typeface="Arial"/>
                <a:cs typeface="Arial"/>
              </a:rPr>
              <a:t>n</a:t>
            </a:r>
            <a:r>
              <a:rPr sz="1200" b="1" dirty="0">
                <a:solidFill>
                  <a:srgbClr val="FFFFFF"/>
                </a:solidFill>
                <a:latin typeface="Arial"/>
                <a:cs typeface="Arial"/>
              </a:rPr>
              <a:t>es</a:t>
            </a:r>
            <a:endParaRPr sz="1200" dirty="0">
              <a:latin typeface="Arial"/>
              <a:cs typeface="Arial"/>
            </a:endParaRPr>
          </a:p>
          <a:p>
            <a:pPr marL="73025" marR="64135" algn="ctr">
              <a:lnSpc>
                <a:spcPct val="143300"/>
              </a:lnSpc>
              <a:spcBef>
                <a:spcPts val="300"/>
              </a:spcBef>
            </a:pPr>
            <a:r>
              <a:rPr sz="900" b="1" dirty="0">
                <a:solidFill>
                  <a:srgbClr val="FFFFFF"/>
                </a:solidFill>
                <a:latin typeface="Arial"/>
                <a:cs typeface="Arial"/>
              </a:rPr>
              <a:t>35</a:t>
            </a:r>
            <a:r>
              <a:rPr sz="900" b="1" spc="-10" dirty="0">
                <a:solidFill>
                  <a:srgbClr val="FFFFFF"/>
                </a:solidFill>
                <a:latin typeface="Arial"/>
                <a:cs typeface="Arial"/>
              </a:rPr>
              <a:t> </a:t>
            </a:r>
            <a:r>
              <a:rPr sz="900" b="1" dirty="0">
                <a:solidFill>
                  <a:srgbClr val="FFFFFF"/>
                </a:solidFill>
                <a:latin typeface="Arial"/>
                <a:cs typeface="Arial"/>
              </a:rPr>
              <a:t>million</a:t>
            </a:r>
            <a:r>
              <a:rPr sz="900" b="1" spc="-10" dirty="0">
                <a:solidFill>
                  <a:srgbClr val="FFFFFF"/>
                </a:solidFill>
                <a:latin typeface="Arial"/>
                <a:cs typeface="Arial"/>
              </a:rPr>
              <a:t> </a:t>
            </a:r>
            <a:r>
              <a:rPr sz="900" b="1" dirty="0">
                <a:solidFill>
                  <a:srgbClr val="FFFFFF"/>
                </a:solidFill>
                <a:latin typeface="Arial"/>
                <a:cs typeface="Arial"/>
              </a:rPr>
              <a:t>tons of lignite/</a:t>
            </a:r>
            <a:r>
              <a:rPr sz="900" b="1" spc="-45" dirty="0">
                <a:solidFill>
                  <a:srgbClr val="FFFFFF"/>
                </a:solidFill>
                <a:latin typeface="Arial"/>
                <a:cs typeface="Arial"/>
              </a:rPr>
              <a:t>y</a:t>
            </a:r>
            <a:r>
              <a:rPr sz="900" b="1" dirty="0">
                <a:solidFill>
                  <a:srgbClr val="FFFFFF"/>
                </a:solidFill>
                <a:latin typeface="Arial"/>
                <a:cs typeface="Arial"/>
              </a:rPr>
              <a:t>ear</a:t>
            </a:r>
            <a:endParaRPr sz="900" dirty="0">
              <a:latin typeface="Arial"/>
              <a:cs typeface="Arial"/>
            </a:endParaRPr>
          </a:p>
          <a:p>
            <a:pPr marL="12700" marR="5080" algn="ctr">
              <a:lnSpc>
                <a:spcPts val="1560"/>
              </a:lnSpc>
              <a:spcBef>
                <a:spcPts val="120"/>
              </a:spcBef>
            </a:pPr>
            <a:r>
              <a:rPr sz="900" b="1" dirty="0">
                <a:solidFill>
                  <a:srgbClr val="FFFFFF"/>
                </a:solidFill>
                <a:latin typeface="Arial"/>
                <a:cs typeface="Arial"/>
              </a:rPr>
              <a:t>€</a:t>
            </a:r>
            <a:r>
              <a:rPr sz="900" b="1" spc="5" dirty="0">
                <a:solidFill>
                  <a:srgbClr val="FFFFFF"/>
                </a:solidFill>
                <a:latin typeface="Arial"/>
                <a:cs typeface="Arial"/>
              </a:rPr>
              <a:t> </a:t>
            </a:r>
            <a:r>
              <a:rPr sz="900" b="1" dirty="0">
                <a:solidFill>
                  <a:srgbClr val="FFFFFF"/>
                </a:solidFill>
                <a:latin typeface="Arial"/>
                <a:cs typeface="Arial"/>
              </a:rPr>
              <a:t>1,6</a:t>
            </a:r>
            <a:r>
              <a:rPr sz="900" b="1" spc="-10" dirty="0">
                <a:solidFill>
                  <a:srgbClr val="FFFFFF"/>
                </a:solidFill>
                <a:latin typeface="Arial"/>
                <a:cs typeface="Arial"/>
              </a:rPr>
              <a:t> </a:t>
            </a:r>
            <a:r>
              <a:rPr sz="900" b="1" dirty="0">
                <a:solidFill>
                  <a:srgbClr val="FFFFFF"/>
                </a:solidFill>
                <a:latin typeface="Arial"/>
                <a:cs typeface="Arial"/>
              </a:rPr>
              <a:t>billion</a:t>
            </a:r>
            <a:r>
              <a:rPr sz="900" b="1" spc="-25" dirty="0">
                <a:solidFill>
                  <a:srgbClr val="FFFFFF"/>
                </a:solidFill>
                <a:latin typeface="Arial"/>
                <a:cs typeface="Arial"/>
              </a:rPr>
              <a:t> </a:t>
            </a:r>
            <a:r>
              <a:rPr sz="900" b="1" dirty="0">
                <a:solidFill>
                  <a:srgbClr val="FFFFFF"/>
                </a:solidFill>
                <a:latin typeface="Arial"/>
                <a:cs typeface="Arial"/>
              </a:rPr>
              <a:t>fixed assets</a:t>
            </a:r>
            <a:endParaRPr sz="900" dirty="0">
              <a:latin typeface="Arial"/>
              <a:cs typeface="Arial"/>
            </a:endParaRPr>
          </a:p>
        </p:txBody>
      </p:sp>
      <p:sp>
        <p:nvSpPr>
          <p:cNvPr id="19" name="object 14"/>
          <p:cNvSpPr/>
          <p:nvPr/>
        </p:nvSpPr>
        <p:spPr>
          <a:xfrm>
            <a:off x="5769863" y="2514600"/>
            <a:ext cx="2054351" cy="2225039"/>
          </a:xfrm>
          <a:prstGeom prst="rect">
            <a:avLst/>
          </a:prstGeom>
          <a:blipFill>
            <a:blip r:embed="rId9" cstate="print"/>
            <a:stretch>
              <a:fillRect/>
            </a:stretch>
          </a:blipFill>
        </p:spPr>
        <p:txBody>
          <a:bodyPr wrap="square" lIns="0" tIns="0" rIns="0" bIns="0" rtlCol="0"/>
          <a:lstStyle/>
          <a:p>
            <a:endParaRPr/>
          </a:p>
        </p:txBody>
      </p:sp>
      <p:sp>
        <p:nvSpPr>
          <p:cNvPr id="20" name="object 15"/>
          <p:cNvSpPr txBox="1"/>
          <p:nvPr/>
        </p:nvSpPr>
        <p:spPr>
          <a:xfrm>
            <a:off x="6092868" y="2927120"/>
            <a:ext cx="1354455" cy="1173480"/>
          </a:xfrm>
          <a:prstGeom prst="rect">
            <a:avLst/>
          </a:prstGeom>
        </p:spPr>
        <p:txBody>
          <a:bodyPr vert="horz" wrap="square" lIns="0" tIns="0" rIns="0" bIns="0" rtlCol="0">
            <a:spAutoFit/>
          </a:bodyPr>
          <a:lstStyle/>
          <a:p>
            <a:pPr marL="1270" algn="ctr">
              <a:lnSpc>
                <a:spcPct val="100000"/>
              </a:lnSpc>
            </a:pPr>
            <a:r>
              <a:rPr sz="1200" b="1" spc="-5" dirty="0">
                <a:solidFill>
                  <a:srgbClr val="FFFFFF"/>
                </a:solidFill>
                <a:latin typeface="Arial"/>
                <a:cs typeface="Arial"/>
              </a:rPr>
              <a:t>D</a:t>
            </a:r>
            <a:r>
              <a:rPr sz="1200" b="1" dirty="0">
                <a:solidFill>
                  <a:srgbClr val="FFFFFF"/>
                </a:solidFill>
                <a:latin typeface="Arial"/>
                <a:cs typeface="Arial"/>
              </a:rPr>
              <a:t>is</a:t>
            </a:r>
            <a:r>
              <a:rPr sz="1200" b="1" spc="-5" dirty="0">
                <a:solidFill>
                  <a:srgbClr val="FFFFFF"/>
                </a:solidFill>
                <a:latin typeface="Arial"/>
                <a:cs typeface="Arial"/>
              </a:rPr>
              <a:t>t</a:t>
            </a:r>
            <a:r>
              <a:rPr sz="1200" b="1" dirty="0">
                <a:solidFill>
                  <a:srgbClr val="FFFFFF"/>
                </a:solidFill>
                <a:latin typeface="Arial"/>
                <a:cs typeface="Arial"/>
              </a:rPr>
              <a:t>ri</a:t>
            </a:r>
            <a:r>
              <a:rPr sz="1200" b="1" spc="-5" dirty="0">
                <a:solidFill>
                  <a:srgbClr val="FFFFFF"/>
                </a:solidFill>
                <a:latin typeface="Arial"/>
                <a:cs typeface="Arial"/>
              </a:rPr>
              <a:t>but</a:t>
            </a:r>
            <a:r>
              <a:rPr sz="1200" b="1" dirty="0">
                <a:solidFill>
                  <a:srgbClr val="FFFFFF"/>
                </a:solidFill>
                <a:latin typeface="Arial"/>
                <a:cs typeface="Arial"/>
              </a:rPr>
              <a:t>i</a:t>
            </a:r>
            <a:r>
              <a:rPr sz="1200" b="1" spc="-5" dirty="0">
                <a:solidFill>
                  <a:srgbClr val="FFFFFF"/>
                </a:solidFill>
                <a:latin typeface="Arial"/>
                <a:cs typeface="Arial"/>
              </a:rPr>
              <a:t>on</a:t>
            </a:r>
            <a:endParaRPr sz="1200" dirty="0">
              <a:latin typeface="Arial"/>
              <a:cs typeface="Arial"/>
            </a:endParaRPr>
          </a:p>
          <a:p>
            <a:pPr marL="12700" marR="5080" algn="ctr">
              <a:lnSpc>
                <a:spcPct val="143600"/>
              </a:lnSpc>
              <a:spcBef>
                <a:spcPts val="80"/>
              </a:spcBef>
            </a:pPr>
            <a:r>
              <a:rPr sz="900" b="1" dirty="0">
                <a:solidFill>
                  <a:srgbClr val="FFFFFF"/>
                </a:solidFill>
                <a:latin typeface="Arial"/>
                <a:cs typeface="Arial"/>
              </a:rPr>
              <a:t>238,219</a:t>
            </a:r>
            <a:r>
              <a:rPr sz="900" b="1" spc="-20" dirty="0">
                <a:solidFill>
                  <a:srgbClr val="FFFFFF"/>
                </a:solidFill>
                <a:latin typeface="Arial"/>
                <a:cs typeface="Arial"/>
              </a:rPr>
              <a:t> </a:t>
            </a:r>
            <a:r>
              <a:rPr sz="900" b="1" dirty="0">
                <a:solidFill>
                  <a:srgbClr val="FFFFFF"/>
                </a:solidFill>
                <a:latin typeface="Arial"/>
                <a:cs typeface="Arial"/>
              </a:rPr>
              <a:t>km</a:t>
            </a:r>
            <a:r>
              <a:rPr sz="900" b="1" spc="-10" dirty="0">
                <a:solidFill>
                  <a:srgbClr val="FFFFFF"/>
                </a:solidFill>
                <a:latin typeface="Arial"/>
                <a:cs typeface="Arial"/>
              </a:rPr>
              <a:t> </a:t>
            </a:r>
            <a:r>
              <a:rPr sz="900" b="1" dirty="0">
                <a:solidFill>
                  <a:srgbClr val="FFFFFF"/>
                </a:solidFill>
                <a:latin typeface="Arial"/>
                <a:cs typeface="Arial"/>
              </a:rPr>
              <a:t>of lo</a:t>
            </a:r>
            <a:r>
              <a:rPr sz="900" b="1" spc="15" dirty="0">
                <a:solidFill>
                  <a:srgbClr val="FFFFFF"/>
                </a:solidFill>
                <a:latin typeface="Arial"/>
                <a:cs typeface="Arial"/>
              </a:rPr>
              <a:t>w</a:t>
            </a:r>
            <a:r>
              <a:rPr sz="900" b="1" dirty="0">
                <a:solidFill>
                  <a:srgbClr val="FFFFFF"/>
                </a:solidFill>
                <a:latin typeface="Arial"/>
                <a:cs typeface="Arial"/>
              </a:rPr>
              <a:t>/medium</a:t>
            </a:r>
            <a:r>
              <a:rPr sz="900" b="1" spc="-45" dirty="0">
                <a:solidFill>
                  <a:srgbClr val="FFFFFF"/>
                </a:solidFill>
                <a:latin typeface="Arial"/>
                <a:cs typeface="Arial"/>
              </a:rPr>
              <a:t> </a:t>
            </a:r>
            <a:r>
              <a:rPr sz="900" b="1" spc="-10" dirty="0">
                <a:solidFill>
                  <a:srgbClr val="FFFFFF"/>
                </a:solidFill>
                <a:latin typeface="Arial"/>
                <a:cs typeface="Arial"/>
              </a:rPr>
              <a:t>v</a:t>
            </a:r>
            <a:r>
              <a:rPr sz="900" b="1" dirty="0">
                <a:solidFill>
                  <a:srgbClr val="FFFFFF"/>
                </a:solidFill>
                <a:latin typeface="Arial"/>
                <a:cs typeface="Arial"/>
              </a:rPr>
              <a:t>oltage lines</a:t>
            </a:r>
            <a:r>
              <a:rPr sz="900" b="1" spc="-10" dirty="0">
                <a:solidFill>
                  <a:srgbClr val="FFFFFF"/>
                </a:solidFill>
                <a:latin typeface="Arial"/>
                <a:cs typeface="Arial"/>
              </a:rPr>
              <a:t> </a:t>
            </a:r>
            <a:r>
              <a:rPr sz="900" b="1" dirty="0">
                <a:solidFill>
                  <a:srgbClr val="FFFFFF"/>
                </a:solidFill>
                <a:latin typeface="Arial"/>
                <a:cs typeface="Arial"/>
              </a:rPr>
              <a:t>and</a:t>
            </a:r>
            <a:r>
              <a:rPr sz="900" b="1" spc="-10" dirty="0">
                <a:solidFill>
                  <a:srgbClr val="FFFFFF"/>
                </a:solidFill>
                <a:latin typeface="Arial"/>
                <a:cs typeface="Arial"/>
              </a:rPr>
              <a:t> </a:t>
            </a:r>
            <a:r>
              <a:rPr sz="900" b="1" dirty="0">
                <a:solidFill>
                  <a:srgbClr val="FFFFFF"/>
                </a:solidFill>
                <a:latin typeface="Arial"/>
                <a:cs typeface="Arial"/>
              </a:rPr>
              <a:t>989</a:t>
            </a:r>
            <a:r>
              <a:rPr sz="900" b="1" spc="-10" dirty="0">
                <a:solidFill>
                  <a:srgbClr val="FFFFFF"/>
                </a:solidFill>
                <a:latin typeface="Arial"/>
                <a:cs typeface="Arial"/>
              </a:rPr>
              <a:t> </a:t>
            </a:r>
            <a:r>
              <a:rPr sz="900" b="1" dirty="0">
                <a:solidFill>
                  <a:srgbClr val="FFFFFF"/>
                </a:solidFill>
                <a:latin typeface="Arial"/>
                <a:cs typeface="Arial"/>
              </a:rPr>
              <a:t>km</a:t>
            </a:r>
            <a:r>
              <a:rPr sz="900" b="1" spc="-10" dirty="0">
                <a:solidFill>
                  <a:srgbClr val="FFFFFF"/>
                </a:solidFill>
                <a:latin typeface="Arial"/>
                <a:cs typeface="Arial"/>
              </a:rPr>
              <a:t> </a:t>
            </a:r>
            <a:r>
              <a:rPr sz="900" b="1" dirty="0">
                <a:solidFill>
                  <a:srgbClr val="FFFFFF"/>
                </a:solidFill>
                <a:latin typeface="Arial"/>
                <a:cs typeface="Arial"/>
              </a:rPr>
              <a:t>of high </a:t>
            </a:r>
            <a:r>
              <a:rPr sz="900" b="1" spc="-10" dirty="0">
                <a:solidFill>
                  <a:srgbClr val="FFFFFF"/>
                </a:solidFill>
                <a:latin typeface="Arial"/>
                <a:cs typeface="Arial"/>
              </a:rPr>
              <a:t>v</a:t>
            </a:r>
            <a:r>
              <a:rPr sz="900" b="1" dirty="0">
                <a:solidFill>
                  <a:srgbClr val="FFFFFF"/>
                </a:solidFill>
                <a:latin typeface="Arial"/>
                <a:cs typeface="Arial"/>
              </a:rPr>
              <a:t>oltage</a:t>
            </a:r>
            <a:r>
              <a:rPr sz="900" b="1" spc="-10" dirty="0">
                <a:solidFill>
                  <a:srgbClr val="FFFFFF"/>
                </a:solidFill>
                <a:latin typeface="Arial"/>
                <a:cs typeface="Arial"/>
              </a:rPr>
              <a:t> </a:t>
            </a:r>
            <a:r>
              <a:rPr sz="900" b="1" dirty="0">
                <a:solidFill>
                  <a:srgbClr val="FFFFFF"/>
                </a:solidFill>
                <a:latin typeface="Arial"/>
                <a:cs typeface="Arial"/>
              </a:rPr>
              <a:t>lines</a:t>
            </a:r>
            <a:r>
              <a:rPr sz="900" b="1" spc="-10" dirty="0">
                <a:solidFill>
                  <a:srgbClr val="FFFFFF"/>
                </a:solidFill>
                <a:latin typeface="Arial"/>
                <a:cs typeface="Arial"/>
              </a:rPr>
              <a:t> </a:t>
            </a:r>
            <a:r>
              <a:rPr sz="900" b="1" dirty="0">
                <a:solidFill>
                  <a:srgbClr val="FFFFFF"/>
                </a:solidFill>
                <a:latin typeface="Arial"/>
                <a:cs typeface="Arial"/>
              </a:rPr>
              <a:t>3,7</a:t>
            </a:r>
            <a:r>
              <a:rPr sz="900" b="1" spc="-10" dirty="0">
                <a:solidFill>
                  <a:srgbClr val="FFFFFF"/>
                </a:solidFill>
                <a:latin typeface="Arial"/>
                <a:cs typeface="Arial"/>
              </a:rPr>
              <a:t> </a:t>
            </a:r>
            <a:r>
              <a:rPr sz="900" b="1" dirty="0">
                <a:solidFill>
                  <a:srgbClr val="FFFFFF"/>
                </a:solidFill>
                <a:latin typeface="Arial"/>
                <a:cs typeface="Arial"/>
              </a:rPr>
              <a:t>billion fixed</a:t>
            </a:r>
            <a:r>
              <a:rPr sz="900" b="1" spc="-10" dirty="0">
                <a:solidFill>
                  <a:srgbClr val="FFFFFF"/>
                </a:solidFill>
                <a:latin typeface="Arial"/>
                <a:cs typeface="Arial"/>
              </a:rPr>
              <a:t> </a:t>
            </a:r>
            <a:r>
              <a:rPr sz="900" b="1" dirty="0">
                <a:solidFill>
                  <a:srgbClr val="FFFFFF"/>
                </a:solidFill>
                <a:latin typeface="Arial"/>
                <a:cs typeface="Arial"/>
              </a:rPr>
              <a:t>assets</a:t>
            </a:r>
            <a:endParaRPr sz="900" dirty="0">
              <a:latin typeface="Arial"/>
              <a:cs typeface="Arial"/>
            </a:endParaRPr>
          </a:p>
        </p:txBody>
      </p:sp>
      <p:sp>
        <p:nvSpPr>
          <p:cNvPr id="21" name="object 16"/>
          <p:cNvSpPr/>
          <p:nvPr/>
        </p:nvSpPr>
        <p:spPr>
          <a:xfrm>
            <a:off x="3485388" y="4608576"/>
            <a:ext cx="1752599" cy="1725167"/>
          </a:xfrm>
          <a:prstGeom prst="rect">
            <a:avLst/>
          </a:prstGeom>
          <a:blipFill>
            <a:blip r:embed="rId10" cstate="print"/>
            <a:stretch>
              <a:fillRect/>
            </a:stretch>
          </a:blipFill>
        </p:spPr>
        <p:txBody>
          <a:bodyPr wrap="square" lIns="0" tIns="0" rIns="0" bIns="0" rtlCol="0"/>
          <a:lstStyle/>
          <a:p>
            <a:endParaRPr/>
          </a:p>
        </p:txBody>
      </p:sp>
      <p:sp>
        <p:nvSpPr>
          <p:cNvPr id="22" name="object 17"/>
          <p:cNvSpPr txBox="1"/>
          <p:nvPr/>
        </p:nvSpPr>
        <p:spPr>
          <a:xfrm>
            <a:off x="3715512" y="4967255"/>
            <a:ext cx="1158240" cy="901785"/>
          </a:xfrm>
          <a:prstGeom prst="rect">
            <a:avLst/>
          </a:prstGeom>
        </p:spPr>
        <p:txBody>
          <a:bodyPr vert="horz" wrap="square" lIns="0" tIns="0" rIns="0" bIns="0" rtlCol="0">
            <a:spAutoFit/>
          </a:bodyPr>
          <a:lstStyle/>
          <a:p>
            <a:pPr marL="288290" marR="281305" indent="3175" algn="ctr">
              <a:lnSpc>
                <a:spcPct val="142300"/>
              </a:lnSpc>
            </a:pPr>
            <a:r>
              <a:rPr sz="1200" b="1" spc="-10" dirty="0">
                <a:solidFill>
                  <a:srgbClr val="FFFFFF"/>
                </a:solidFill>
                <a:latin typeface="Arial"/>
                <a:cs typeface="Arial"/>
              </a:rPr>
              <a:t>S</a:t>
            </a:r>
            <a:r>
              <a:rPr sz="1200" b="1" spc="-5" dirty="0">
                <a:solidFill>
                  <a:srgbClr val="FFFFFF"/>
                </a:solidFill>
                <a:latin typeface="Arial"/>
                <a:cs typeface="Arial"/>
              </a:rPr>
              <a:t>upp</a:t>
            </a:r>
            <a:r>
              <a:rPr sz="1200" b="1" spc="-10" dirty="0">
                <a:solidFill>
                  <a:srgbClr val="FFFFFF"/>
                </a:solidFill>
                <a:latin typeface="Arial"/>
                <a:cs typeface="Arial"/>
              </a:rPr>
              <a:t>l</a:t>
            </a:r>
            <a:r>
              <a:rPr sz="1200" b="1" spc="-5" dirty="0">
                <a:solidFill>
                  <a:srgbClr val="FFFFFF"/>
                </a:solidFill>
                <a:latin typeface="Arial"/>
                <a:cs typeface="Arial"/>
              </a:rPr>
              <a:t>y </a:t>
            </a:r>
            <a:r>
              <a:rPr sz="900" b="1" dirty="0">
                <a:solidFill>
                  <a:srgbClr val="FFFFFF"/>
                </a:solidFill>
                <a:latin typeface="Arial"/>
                <a:cs typeface="Arial"/>
              </a:rPr>
              <a:t>7,2</a:t>
            </a:r>
            <a:r>
              <a:rPr sz="900" b="1" spc="-10" dirty="0">
                <a:solidFill>
                  <a:srgbClr val="FFFFFF"/>
                </a:solidFill>
                <a:latin typeface="Arial"/>
                <a:cs typeface="Arial"/>
              </a:rPr>
              <a:t> </a:t>
            </a:r>
            <a:r>
              <a:rPr sz="900" b="1" dirty="0">
                <a:solidFill>
                  <a:srgbClr val="FFFFFF"/>
                </a:solidFill>
                <a:latin typeface="Arial"/>
                <a:cs typeface="Arial"/>
              </a:rPr>
              <a:t>million custome</a:t>
            </a:r>
            <a:r>
              <a:rPr sz="900" b="1" spc="-5" dirty="0">
                <a:solidFill>
                  <a:srgbClr val="FFFFFF"/>
                </a:solidFill>
                <a:latin typeface="Arial"/>
                <a:cs typeface="Arial"/>
              </a:rPr>
              <a:t>r</a:t>
            </a:r>
            <a:r>
              <a:rPr sz="900" b="1" dirty="0">
                <a:solidFill>
                  <a:srgbClr val="FFFFFF"/>
                </a:solidFill>
                <a:latin typeface="Arial"/>
                <a:cs typeface="Arial"/>
              </a:rPr>
              <a:t>s</a:t>
            </a:r>
            <a:endParaRPr sz="900" dirty="0">
              <a:latin typeface="Arial"/>
              <a:cs typeface="Arial"/>
            </a:endParaRPr>
          </a:p>
          <a:p>
            <a:pPr>
              <a:lnSpc>
                <a:spcPct val="100000"/>
              </a:lnSpc>
              <a:spcBef>
                <a:spcPts val="23"/>
              </a:spcBef>
            </a:pPr>
            <a:endParaRPr sz="700" dirty="0">
              <a:latin typeface="Times New Roman"/>
              <a:cs typeface="Times New Roman"/>
            </a:endParaRPr>
          </a:p>
          <a:p>
            <a:pPr marL="196850">
              <a:lnSpc>
                <a:spcPct val="100000"/>
              </a:lnSpc>
            </a:pPr>
            <a:r>
              <a:rPr sz="900" b="1" dirty="0">
                <a:solidFill>
                  <a:srgbClr val="FFFFFF"/>
                </a:solidFill>
                <a:latin typeface="Arial"/>
                <a:cs typeface="Arial"/>
              </a:rPr>
              <a:t>112 </a:t>
            </a:r>
            <a:r>
              <a:rPr sz="900" b="1" spc="-5" dirty="0">
                <a:solidFill>
                  <a:srgbClr val="FFFFFF"/>
                </a:solidFill>
                <a:latin typeface="Arial"/>
                <a:cs typeface="Arial"/>
              </a:rPr>
              <a:t> </a:t>
            </a:r>
            <a:r>
              <a:rPr sz="900" b="1" dirty="0">
                <a:solidFill>
                  <a:srgbClr val="FFFFFF"/>
                </a:solidFill>
                <a:latin typeface="Arial"/>
                <a:cs typeface="Arial"/>
              </a:rPr>
              <a:t>b</a:t>
            </a:r>
            <a:r>
              <a:rPr sz="900" b="1" spc="-5" dirty="0">
                <a:solidFill>
                  <a:srgbClr val="FFFFFF"/>
                </a:solidFill>
                <a:latin typeface="Arial"/>
                <a:cs typeface="Arial"/>
              </a:rPr>
              <a:t>r</a:t>
            </a:r>
            <a:r>
              <a:rPr sz="900" b="1" dirty="0">
                <a:solidFill>
                  <a:srgbClr val="FFFFFF"/>
                </a:solidFill>
                <a:latin typeface="Arial"/>
                <a:cs typeface="Arial"/>
              </a:rPr>
              <a:t>anches</a:t>
            </a:r>
            <a:endParaRPr sz="900" dirty="0">
              <a:latin typeface="Arial"/>
              <a:cs typeface="Arial"/>
            </a:endParaRPr>
          </a:p>
        </p:txBody>
      </p:sp>
      <p:sp>
        <p:nvSpPr>
          <p:cNvPr id="23" name="object 18"/>
          <p:cNvSpPr/>
          <p:nvPr/>
        </p:nvSpPr>
        <p:spPr>
          <a:xfrm>
            <a:off x="1129284" y="2543555"/>
            <a:ext cx="1943099" cy="2115311"/>
          </a:xfrm>
          <a:prstGeom prst="rect">
            <a:avLst/>
          </a:prstGeom>
          <a:blipFill>
            <a:blip r:embed="rId11" cstate="print"/>
            <a:stretch>
              <a:fillRect/>
            </a:stretch>
          </a:blipFill>
        </p:spPr>
        <p:txBody>
          <a:bodyPr wrap="square" lIns="0" tIns="0" rIns="0" bIns="0" rtlCol="0"/>
          <a:lstStyle/>
          <a:p>
            <a:endParaRPr/>
          </a:p>
        </p:txBody>
      </p:sp>
      <p:sp>
        <p:nvSpPr>
          <p:cNvPr id="24" name="object 19"/>
          <p:cNvSpPr txBox="1"/>
          <p:nvPr/>
        </p:nvSpPr>
        <p:spPr>
          <a:xfrm>
            <a:off x="1658015" y="2684281"/>
            <a:ext cx="831850" cy="177800"/>
          </a:xfrm>
          <a:prstGeom prst="rect">
            <a:avLst/>
          </a:prstGeom>
        </p:spPr>
        <p:txBody>
          <a:bodyPr vert="horz" wrap="square" lIns="0" tIns="0" rIns="0" bIns="0" rtlCol="0">
            <a:spAutoFit/>
          </a:bodyPr>
          <a:lstStyle/>
          <a:p>
            <a:pPr marL="12700">
              <a:lnSpc>
                <a:spcPct val="100000"/>
              </a:lnSpc>
            </a:pPr>
            <a:r>
              <a:rPr sz="1200" b="1" dirty="0">
                <a:solidFill>
                  <a:srgbClr val="FFFFFF"/>
                </a:solidFill>
                <a:latin typeface="Arial"/>
                <a:cs typeface="Arial"/>
              </a:rPr>
              <a:t>Ge</a:t>
            </a:r>
            <a:r>
              <a:rPr sz="1200" b="1" spc="-5" dirty="0">
                <a:solidFill>
                  <a:srgbClr val="FFFFFF"/>
                </a:solidFill>
                <a:latin typeface="Arial"/>
                <a:cs typeface="Arial"/>
              </a:rPr>
              <a:t>n</a:t>
            </a:r>
            <a:r>
              <a:rPr sz="1200" b="1" dirty="0">
                <a:solidFill>
                  <a:srgbClr val="FFFFFF"/>
                </a:solidFill>
                <a:latin typeface="Arial"/>
                <a:cs typeface="Arial"/>
              </a:rPr>
              <a:t>era</a:t>
            </a:r>
            <a:r>
              <a:rPr sz="1200" b="1" spc="-5" dirty="0">
                <a:solidFill>
                  <a:srgbClr val="FFFFFF"/>
                </a:solidFill>
                <a:latin typeface="Arial"/>
                <a:cs typeface="Arial"/>
              </a:rPr>
              <a:t>t</a:t>
            </a:r>
            <a:r>
              <a:rPr sz="1200" b="1" dirty="0">
                <a:solidFill>
                  <a:srgbClr val="FFFFFF"/>
                </a:solidFill>
                <a:latin typeface="Arial"/>
                <a:cs typeface="Arial"/>
              </a:rPr>
              <a:t>i</a:t>
            </a:r>
            <a:r>
              <a:rPr sz="1200" b="1" spc="-5" dirty="0">
                <a:solidFill>
                  <a:srgbClr val="FFFFFF"/>
                </a:solidFill>
                <a:latin typeface="Arial"/>
                <a:cs typeface="Arial"/>
              </a:rPr>
              <a:t>o</a:t>
            </a:r>
            <a:r>
              <a:rPr sz="1200" b="1" dirty="0">
                <a:solidFill>
                  <a:srgbClr val="FFFFFF"/>
                </a:solidFill>
                <a:latin typeface="Arial"/>
                <a:cs typeface="Arial"/>
              </a:rPr>
              <a:t>n</a:t>
            </a:r>
            <a:endParaRPr sz="1200" dirty="0">
              <a:latin typeface="Arial"/>
              <a:cs typeface="Arial"/>
            </a:endParaRPr>
          </a:p>
        </p:txBody>
      </p:sp>
      <p:sp>
        <p:nvSpPr>
          <p:cNvPr id="26" name="object 20"/>
          <p:cNvSpPr txBox="1"/>
          <p:nvPr/>
        </p:nvSpPr>
        <p:spPr>
          <a:xfrm>
            <a:off x="1423433" y="2990998"/>
            <a:ext cx="1299210" cy="1541448"/>
          </a:xfrm>
          <a:prstGeom prst="rect">
            <a:avLst/>
          </a:prstGeom>
        </p:spPr>
        <p:txBody>
          <a:bodyPr vert="horz" wrap="square" lIns="0" tIns="0" rIns="0" bIns="0" rtlCol="0">
            <a:spAutoFit/>
          </a:bodyPr>
          <a:lstStyle/>
          <a:p>
            <a:pPr algn="ctr">
              <a:lnSpc>
                <a:spcPct val="100000"/>
              </a:lnSpc>
            </a:pPr>
            <a:r>
              <a:rPr sz="900" b="1" dirty="0" smtClean="0">
                <a:solidFill>
                  <a:srgbClr val="FFFFFF"/>
                </a:solidFill>
                <a:latin typeface="Arial"/>
                <a:cs typeface="Arial"/>
              </a:rPr>
              <a:t>1</a:t>
            </a:r>
            <a:r>
              <a:rPr lang="en-US" sz="900" b="1" dirty="0" smtClean="0">
                <a:solidFill>
                  <a:srgbClr val="FFFFFF"/>
                </a:solidFill>
                <a:latin typeface="Arial"/>
                <a:cs typeface="Arial"/>
              </a:rPr>
              <a:t>2,1</a:t>
            </a:r>
            <a:r>
              <a:rPr lang="en-US" sz="900" b="1" dirty="0" smtClean="0">
                <a:solidFill>
                  <a:srgbClr val="FFFFFF"/>
                </a:solidFill>
                <a:latin typeface="Arial"/>
                <a:cs typeface="Arial"/>
              </a:rPr>
              <a:t> </a:t>
            </a:r>
            <a:r>
              <a:rPr sz="900" b="1" spc="-5" dirty="0" smtClean="0">
                <a:solidFill>
                  <a:srgbClr val="FFFFFF"/>
                </a:solidFill>
                <a:latin typeface="Arial"/>
                <a:cs typeface="Arial"/>
              </a:rPr>
              <a:t>G</a:t>
            </a:r>
            <a:r>
              <a:rPr sz="900" b="1" dirty="0" smtClean="0">
                <a:solidFill>
                  <a:srgbClr val="FFFFFF"/>
                </a:solidFill>
                <a:latin typeface="Arial"/>
                <a:cs typeface="Arial"/>
              </a:rPr>
              <a:t>W</a:t>
            </a:r>
            <a:endParaRPr sz="900" dirty="0">
              <a:latin typeface="Arial"/>
              <a:cs typeface="Arial"/>
            </a:endParaRPr>
          </a:p>
          <a:p>
            <a:pPr marL="175260" marR="160655" algn="ctr">
              <a:lnSpc>
                <a:spcPts val="1560"/>
              </a:lnSpc>
              <a:spcBef>
                <a:spcPts val="120"/>
              </a:spcBef>
            </a:pPr>
            <a:r>
              <a:rPr sz="900" b="1" dirty="0">
                <a:solidFill>
                  <a:srgbClr val="FFFFFF"/>
                </a:solidFill>
                <a:latin typeface="Arial"/>
                <a:cs typeface="Arial"/>
              </a:rPr>
              <a:t>Installed</a:t>
            </a:r>
            <a:r>
              <a:rPr sz="900" b="1" spc="-25" dirty="0">
                <a:solidFill>
                  <a:srgbClr val="FFFFFF"/>
                </a:solidFill>
                <a:latin typeface="Arial"/>
                <a:cs typeface="Arial"/>
              </a:rPr>
              <a:t> </a:t>
            </a:r>
            <a:r>
              <a:rPr sz="900" b="1" dirty="0">
                <a:solidFill>
                  <a:srgbClr val="FFFFFF"/>
                </a:solidFill>
                <a:latin typeface="Arial"/>
                <a:cs typeface="Arial"/>
              </a:rPr>
              <a:t>capacity 13</a:t>
            </a:r>
            <a:r>
              <a:rPr sz="900" b="1" spc="-10" dirty="0">
                <a:solidFill>
                  <a:srgbClr val="FFFFFF"/>
                </a:solidFill>
                <a:latin typeface="Arial"/>
                <a:cs typeface="Arial"/>
              </a:rPr>
              <a:t> </a:t>
            </a:r>
            <a:r>
              <a:rPr sz="900" b="1" dirty="0">
                <a:solidFill>
                  <a:srgbClr val="FFFFFF"/>
                </a:solidFill>
                <a:latin typeface="Arial"/>
                <a:cs typeface="Arial"/>
              </a:rPr>
              <a:t>steam</a:t>
            </a:r>
            <a:r>
              <a:rPr sz="900" b="1" spc="-10" dirty="0">
                <a:solidFill>
                  <a:srgbClr val="FFFFFF"/>
                </a:solidFill>
                <a:latin typeface="Arial"/>
                <a:cs typeface="Arial"/>
              </a:rPr>
              <a:t> </a:t>
            </a:r>
            <a:r>
              <a:rPr sz="900" b="1" dirty="0">
                <a:solidFill>
                  <a:srgbClr val="FFFFFF"/>
                </a:solidFill>
                <a:latin typeface="Arial"/>
                <a:cs typeface="Arial"/>
              </a:rPr>
              <a:t>elect</a:t>
            </a:r>
            <a:r>
              <a:rPr sz="900" b="1" spc="-5" dirty="0">
                <a:solidFill>
                  <a:srgbClr val="FFFFFF"/>
                </a:solidFill>
                <a:latin typeface="Arial"/>
                <a:cs typeface="Arial"/>
              </a:rPr>
              <a:t>r</a:t>
            </a:r>
            <a:r>
              <a:rPr sz="900" b="1" dirty="0">
                <a:solidFill>
                  <a:srgbClr val="FFFFFF"/>
                </a:solidFill>
                <a:latin typeface="Arial"/>
                <a:cs typeface="Arial"/>
              </a:rPr>
              <a:t>ic</a:t>
            </a:r>
            <a:endParaRPr sz="900" dirty="0">
              <a:latin typeface="Arial"/>
              <a:cs typeface="Arial"/>
            </a:endParaRPr>
          </a:p>
          <a:p>
            <a:pPr algn="ctr">
              <a:lnSpc>
                <a:spcPct val="100000"/>
              </a:lnSpc>
              <a:spcBef>
                <a:spcPts val="335"/>
              </a:spcBef>
            </a:pPr>
            <a:r>
              <a:rPr sz="900" b="1" dirty="0">
                <a:solidFill>
                  <a:srgbClr val="FFFFFF"/>
                </a:solidFill>
                <a:latin typeface="Arial"/>
                <a:cs typeface="Arial"/>
              </a:rPr>
              <a:t>plants,</a:t>
            </a:r>
            <a:r>
              <a:rPr sz="900" b="1" spc="-10" dirty="0">
                <a:solidFill>
                  <a:srgbClr val="FFFFFF"/>
                </a:solidFill>
                <a:latin typeface="Arial"/>
                <a:cs typeface="Arial"/>
              </a:rPr>
              <a:t> </a:t>
            </a:r>
            <a:r>
              <a:rPr sz="900" b="1" dirty="0">
                <a:solidFill>
                  <a:srgbClr val="FFFFFF"/>
                </a:solidFill>
                <a:latin typeface="Arial"/>
                <a:cs typeface="Arial"/>
              </a:rPr>
              <a:t>16</a:t>
            </a:r>
            <a:r>
              <a:rPr sz="900" b="1" spc="-10" dirty="0">
                <a:solidFill>
                  <a:srgbClr val="FFFFFF"/>
                </a:solidFill>
                <a:latin typeface="Arial"/>
                <a:cs typeface="Arial"/>
              </a:rPr>
              <a:t> </a:t>
            </a:r>
            <a:r>
              <a:rPr sz="900" b="1" dirty="0">
                <a:solidFill>
                  <a:srgbClr val="FFFFFF"/>
                </a:solidFill>
                <a:latin typeface="Arial"/>
                <a:cs typeface="Arial"/>
              </a:rPr>
              <a:t>h</a:t>
            </a:r>
            <a:r>
              <a:rPr sz="900" b="1" spc="-45" dirty="0">
                <a:solidFill>
                  <a:srgbClr val="FFFFFF"/>
                </a:solidFill>
                <a:latin typeface="Arial"/>
                <a:cs typeface="Arial"/>
              </a:rPr>
              <a:t>y</a:t>
            </a:r>
            <a:r>
              <a:rPr sz="900" b="1" dirty="0">
                <a:solidFill>
                  <a:srgbClr val="FFFFFF"/>
                </a:solidFill>
                <a:latin typeface="Arial"/>
                <a:cs typeface="Arial"/>
              </a:rPr>
              <a:t>d</a:t>
            </a:r>
            <a:r>
              <a:rPr sz="900" b="1" spc="-5" dirty="0">
                <a:solidFill>
                  <a:srgbClr val="FFFFFF"/>
                </a:solidFill>
                <a:latin typeface="Arial"/>
                <a:cs typeface="Arial"/>
              </a:rPr>
              <a:t>r</a:t>
            </a:r>
            <a:r>
              <a:rPr sz="900" b="1" dirty="0">
                <a:solidFill>
                  <a:srgbClr val="FFFFFF"/>
                </a:solidFill>
                <a:latin typeface="Arial"/>
                <a:cs typeface="Arial"/>
              </a:rPr>
              <a:t>oelect</a:t>
            </a:r>
            <a:r>
              <a:rPr sz="900" b="1" spc="-5" dirty="0">
                <a:solidFill>
                  <a:srgbClr val="FFFFFF"/>
                </a:solidFill>
                <a:latin typeface="Arial"/>
                <a:cs typeface="Arial"/>
              </a:rPr>
              <a:t>r</a:t>
            </a:r>
            <a:r>
              <a:rPr sz="900" b="1" dirty="0">
                <a:solidFill>
                  <a:srgbClr val="FFFFFF"/>
                </a:solidFill>
                <a:latin typeface="Arial"/>
                <a:cs typeface="Arial"/>
              </a:rPr>
              <a:t>ic</a:t>
            </a:r>
            <a:endParaRPr sz="900" dirty="0">
              <a:latin typeface="Arial"/>
              <a:cs typeface="Arial"/>
            </a:endParaRPr>
          </a:p>
          <a:p>
            <a:pPr marL="47625" marR="40005" algn="ctr">
              <a:lnSpc>
                <a:spcPts val="1560"/>
              </a:lnSpc>
              <a:spcBef>
                <a:spcPts val="120"/>
              </a:spcBef>
            </a:pPr>
            <a:r>
              <a:rPr sz="900" b="1" dirty="0">
                <a:solidFill>
                  <a:srgbClr val="FFFFFF"/>
                </a:solidFill>
                <a:latin typeface="Arial"/>
                <a:cs typeface="Arial"/>
              </a:rPr>
              <a:t>plants,</a:t>
            </a:r>
            <a:r>
              <a:rPr sz="900" b="1" spc="-10" dirty="0">
                <a:solidFill>
                  <a:srgbClr val="FFFFFF"/>
                </a:solidFill>
                <a:latin typeface="Arial"/>
                <a:cs typeface="Arial"/>
              </a:rPr>
              <a:t> </a:t>
            </a:r>
            <a:r>
              <a:rPr sz="900" b="1" dirty="0">
                <a:solidFill>
                  <a:srgbClr val="FFFFFF"/>
                </a:solidFill>
                <a:latin typeface="Arial"/>
                <a:cs typeface="Arial"/>
              </a:rPr>
              <a:t>32</a:t>
            </a:r>
            <a:r>
              <a:rPr sz="900" b="1" spc="-10" dirty="0">
                <a:solidFill>
                  <a:srgbClr val="FFFFFF"/>
                </a:solidFill>
                <a:latin typeface="Arial"/>
                <a:cs typeface="Arial"/>
              </a:rPr>
              <a:t> </a:t>
            </a:r>
            <a:r>
              <a:rPr sz="900" b="1" dirty="0">
                <a:solidFill>
                  <a:srgbClr val="FFFFFF"/>
                </a:solidFill>
                <a:latin typeface="Arial"/>
                <a:cs typeface="Arial"/>
              </a:rPr>
              <a:t>stand-alone po</a:t>
            </a:r>
            <a:r>
              <a:rPr sz="900" b="1" spc="15" dirty="0">
                <a:solidFill>
                  <a:srgbClr val="FFFFFF"/>
                </a:solidFill>
                <a:latin typeface="Arial"/>
                <a:cs typeface="Arial"/>
              </a:rPr>
              <a:t>w</a:t>
            </a:r>
            <a:r>
              <a:rPr sz="900" b="1" dirty="0">
                <a:solidFill>
                  <a:srgbClr val="FFFFFF"/>
                </a:solidFill>
                <a:latin typeface="Arial"/>
                <a:cs typeface="Arial"/>
              </a:rPr>
              <a:t>er</a:t>
            </a:r>
            <a:r>
              <a:rPr sz="900" b="1" spc="-25" dirty="0">
                <a:solidFill>
                  <a:srgbClr val="FFFFFF"/>
                </a:solidFill>
                <a:latin typeface="Arial"/>
                <a:cs typeface="Arial"/>
              </a:rPr>
              <a:t> </a:t>
            </a:r>
            <a:r>
              <a:rPr sz="900" b="1" dirty="0">
                <a:solidFill>
                  <a:srgbClr val="FFFFFF"/>
                </a:solidFill>
                <a:latin typeface="Arial"/>
                <a:cs typeface="Arial"/>
              </a:rPr>
              <a:t>plants</a:t>
            </a:r>
            <a:endParaRPr sz="900" dirty="0">
              <a:latin typeface="Arial"/>
              <a:cs typeface="Arial"/>
            </a:endParaRPr>
          </a:p>
          <a:p>
            <a:pPr marL="1270" algn="ctr">
              <a:lnSpc>
                <a:spcPct val="100000"/>
              </a:lnSpc>
              <a:spcBef>
                <a:spcPts val="335"/>
              </a:spcBef>
            </a:pPr>
            <a:r>
              <a:rPr sz="900" b="1" dirty="0">
                <a:solidFill>
                  <a:srgbClr val="FFFFFF"/>
                </a:solidFill>
                <a:latin typeface="Arial"/>
                <a:cs typeface="Arial"/>
              </a:rPr>
              <a:t>€</a:t>
            </a:r>
            <a:r>
              <a:rPr sz="900" b="1" spc="5" dirty="0">
                <a:solidFill>
                  <a:srgbClr val="FFFFFF"/>
                </a:solidFill>
                <a:latin typeface="Arial"/>
                <a:cs typeface="Arial"/>
              </a:rPr>
              <a:t> </a:t>
            </a:r>
            <a:r>
              <a:rPr sz="900" b="1" dirty="0">
                <a:solidFill>
                  <a:srgbClr val="FFFFFF"/>
                </a:solidFill>
                <a:latin typeface="Arial"/>
                <a:cs typeface="Arial"/>
              </a:rPr>
              <a:t>6,1</a:t>
            </a:r>
            <a:r>
              <a:rPr sz="900" b="1" spc="-10" dirty="0">
                <a:solidFill>
                  <a:srgbClr val="FFFFFF"/>
                </a:solidFill>
                <a:latin typeface="Arial"/>
                <a:cs typeface="Arial"/>
              </a:rPr>
              <a:t> </a:t>
            </a:r>
            <a:r>
              <a:rPr sz="900" b="1" dirty="0">
                <a:solidFill>
                  <a:srgbClr val="FFFFFF"/>
                </a:solidFill>
                <a:latin typeface="Arial"/>
                <a:cs typeface="Arial"/>
              </a:rPr>
              <a:t>billion</a:t>
            </a:r>
            <a:r>
              <a:rPr sz="900" b="1" spc="-25" dirty="0">
                <a:solidFill>
                  <a:srgbClr val="FFFFFF"/>
                </a:solidFill>
                <a:latin typeface="Arial"/>
                <a:cs typeface="Arial"/>
              </a:rPr>
              <a:t> </a:t>
            </a:r>
            <a:r>
              <a:rPr sz="900" b="1" dirty="0">
                <a:solidFill>
                  <a:srgbClr val="FFFFFF"/>
                </a:solidFill>
                <a:latin typeface="Arial"/>
                <a:cs typeface="Arial"/>
              </a:rPr>
              <a:t>fixed</a:t>
            </a:r>
            <a:endParaRPr sz="900" dirty="0">
              <a:latin typeface="Arial"/>
              <a:cs typeface="Arial"/>
            </a:endParaRPr>
          </a:p>
          <a:p>
            <a:pPr marL="1270" algn="ctr">
              <a:lnSpc>
                <a:spcPct val="100000"/>
              </a:lnSpc>
              <a:spcBef>
                <a:spcPts val="465"/>
              </a:spcBef>
            </a:pPr>
            <a:r>
              <a:rPr sz="900" b="1" dirty="0">
                <a:solidFill>
                  <a:srgbClr val="FFFFFF"/>
                </a:solidFill>
                <a:latin typeface="Arial"/>
                <a:cs typeface="Arial"/>
              </a:rPr>
              <a:t>assets</a:t>
            </a:r>
            <a:endParaRPr sz="900" dirty="0">
              <a:latin typeface="Arial"/>
              <a:cs typeface="Arial"/>
            </a:endParaRPr>
          </a:p>
        </p:txBody>
      </p:sp>
    </p:spTree>
    <p:extLst>
      <p:ext uri="{BB962C8B-B14F-4D97-AF65-F5344CB8AC3E}">
        <p14:creationId xmlns:p14="http://schemas.microsoft.com/office/powerpoint/2010/main" val="419257332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834" name="think-cell Slide" r:id="rId5" imgW="384" imgH="384" progId="TCLayout.ActiveDocument.1">
                  <p:embed/>
                </p:oleObj>
              </mc:Choice>
              <mc:Fallback>
                <p:oleObj name="think-cell Slide" r:id="rId5" imgW="384" imgH="38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7" name="36 - Ευθεία γραμμή σύνδεσης"/>
          <p:cNvCxnSpPr>
            <a:cxnSpLocks noChangeShapeType="1"/>
          </p:cNvCxnSpPr>
          <p:nvPr/>
        </p:nvCxnSpPr>
        <p:spPr bwMode="auto">
          <a:xfrm>
            <a:off x="6159827" y="4928916"/>
            <a:ext cx="720000"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10" name="Title 1"/>
          <p:cNvSpPr>
            <a:spLocks noGrp="1"/>
          </p:cNvSpPr>
          <p:nvPr>
            <p:ph type="title"/>
          </p:nvPr>
        </p:nvSpPr>
        <p:spPr>
          <a:xfrm>
            <a:off x="1097907" y="235371"/>
            <a:ext cx="7601383" cy="661988"/>
          </a:xfrm>
        </p:spPr>
        <p:txBody>
          <a:bodyPr/>
          <a:lstStyle/>
          <a:p>
            <a:r>
              <a:rPr lang="en-GB" altLang="zh-TW" b="1" dirty="0">
                <a:solidFill>
                  <a:srgbClr val="002060"/>
                </a:solidFill>
              </a:rPr>
              <a:t>PPC </a:t>
            </a:r>
            <a:r>
              <a:rPr lang="en-GB" altLang="zh-TW" b="1" dirty="0" smtClean="0">
                <a:solidFill>
                  <a:srgbClr val="002060"/>
                </a:solidFill>
              </a:rPr>
              <a:t>Group Structure</a:t>
            </a:r>
            <a:endParaRPr lang="en-GB" altLang="zh-TW" b="1" dirty="0">
              <a:solidFill>
                <a:srgbClr val="002060"/>
              </a:solidFill>
            </a:endParaRPr>
          </a:p>
        </p:txBody>
      </p:sp>
      <p:sp>
        <p:nvSpPr>
          <p:cNvPr id="11" name="Slide Number Placeholder 4"/>
          <p:cNvSpPr txBox="1">
            <a:spLocks/>
          </p:cNvSpPr>
          <p:nvPr/>
        </p:nvSpPr>
        <p:spPr>
          <a:xfrm>
            <a:off x="8877300" y="6549182"/>
            <a:ext cx="317500" cy="188913"/>
          </a:xfrm>
          <a:prstGeom prst="rect">
            <a:avLst/>
          </a:prstGeom>
        </p:spPr>
        <p:txBody>
          <a:bodyP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a:defRPr/>
            </a:pPr>
            <a:fld id="{ACAC583F-A320-4755-A148-4B03D13D5D56}" type="slidenum">
              <a:rPr lang="en-GB" sz="800" b="1" smtClean="0"/>
              <a:pPr>
                <a:defRPr/>
              </a:pPr>
              <a:t>3</a:t>
            </a:fld>
            <a:endParaRPr lang="en-GB" sz="800" b="1" dirty="0"/>
          </a:p>
        </p:txBody>
      </p:sp>
      <p:cxnSp>
        <p:nvCxnSpPr>
          <p:cNvPr id="12" name="35 - Ευθεία γραμμή σύνδεσης"/>
          <p:cNvCxnSpPr>
            <a:cxnSpLocks noChangeShapeType="1"/>
          </p:cNvCxnSpPr>
          <p:nvPr/>
        </p:nvCxnSpPr>
        <p:spPr bwMode="auto">
          <a:xfrm>
            <a:off x="3351914" y="4093029"/>
            <a:ext cx="665498"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13" name="7 - Στρογγυλεμένο ορθογώνιο"/>
          <p:cNvSpPr>
            <a:spLocks noChangeArrowheads="1"/>
          </p:cNvSpPr>
          <p:nvPr/>
        </p:nvSpPr>
        <p:spPr bwMode="auto">
          <a:xfrm>
            <a:off x="3816307" y="1372054"/>
            <a:ext cx="1571396" cy="711200"/>
          </a:xfrm>
          <a:prstGeom prst="roundRect">
            <a:avLst>
              <a:gd name="adj" fmla="val 16667"/>
            </a:avLst>
          </a:prstGeom>
          <a:solidFill>
            <a:srgbClr val="1F487D"/>
          </a:solidFill>
          <a:ln w="12700" algn="ctr">
            <a:solidFill>
              <a:srgbClr val="000000"/>
            </a:solidFill>
            <a:round/>
            <a:headEnd/>
            <a:tailEnd/>
          </a:ln>
          <a:effectLst>
            <a:outerShdw blurRad="50800" dist="38100" dir="2700000" algn="tl" rotWithShape="0">
              <a:prstClr val="black">
                <a:alpha val="40000"/>
              </a:prstClr>
            </a:outerShdw>
          </a:effectLst>
        </p:spPr>
        <p:txBody>
          <a:bodyPr lIns="54864" tIns="27432" rIns="54864" bIns="27432" anchor="ctr"/>
          <a:lstStyle/>
          <a:p>
            <a:pPr algn="ctr">
              <a:defRPr/>
            </a:pPr>
            <a:r>
              <a:rPr lang="en-US" sz="2200" b="1" dirty="0">
                <a:solidFill>
                  <a:srgbClr val="FFFFFF"/>
                </a:solidFill>
                <a:latin typeface="Arial" pitchFamily="34" charset="0"/>
                <a:cs typeface="Arial" pitchFamily="34" charset="0"/>
              </a:rPr>
              <a:t>PPC S.A.</a:t>
            </a:r>
          </a:p>
        </p:txBody>
      </p:sp>
      <p:sp>
        <p:nvSpPr>
          <p:cNvPr id="14" name="19 - Στρογγυλεμένο ορθογώνιο"/>
          <p:cNvSpPr/>
          <p:nvPr/>
        </p:nvSpPr>
        <p:spPr bwMode="auto">
          <a:xfrm>
            <a:off x="4002752" y="3867607"/>
            <a:ext cx="1726552" cy="484187"/>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a:solidFill>
                  <a:srgbClr val="002060"/>
                </a:solidFill>
                <a:latin typeface="Arial" pitchFamily="34" charset="0"/>
                <a:cs typeface="Arial" pitchFamily="34" charset="0"/>
              </a:rPr>
              <a:t>LIGNITIKI MEGALOPOLIS S.A</a:t>
            </a:r>
            <a:r>
              <a:rPr lang="en-US" sz="1200" b="1" kern="0" dirty="0" smtClean="0">
                <a:solidFill>
                  <a:srgbClr val="002060"/>
                </a:solidFill>
                <a:latin typeface="Arial" pitchFamily="34" charset="0"/>
                <a:cs typeface="Arial" pitchFamily="34" charset="0"/>
              </a:rPr>
              <a:t>.</a:t>
            </a:r>
            <a:endParaRPr kumimoji="0" lang="en-US" sz="1200" b="1" i="0" u="none" strike="noStrike" kern="0" cap="none" spc="0" normalizeH="0" baseline="0" noProof="0" dirty="0">
              <a:ln>
                <a:noFill/>
              </a:ln>
              <a:solidFill>
                <a:srgbClr val="002060"/>
              </a:solidFill>
              <a:effectLst/>
              <a:uLnTx/>
              <a:uFillTx/>
              <a:latin typeface="Arial" pitchFamily="34" charset="0"/>
              <a:cs typeface="Arial" pitchFamily="34" charset="0"/>
            </a:endParaRPr>
          </a:p>
        </p:txBody>
      </p:sp>
      <p:sp>
        <p:nvSpPr>
          <p:cNvPr id="15" name="23 - Στρογγυλεμένο ορθογώνιο"/>
          <p:cNvSpPr/>
          <p:nvPr/>
        </p:nvSpPr>
        <p:spPr bwMode="auto">
          <a:xfrm>
            <a:off x="6825180" y="3864696"/>
            <a:ext cx="1723621" cy="484188"/>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lvl="0" algn="ctr" eaLnBrk="1" fontAlgn="auto" hangingPunct="1">
              <a:spcBef>
                <a:spcPts val="0"/>
              </a:spcBef>
              <a:spcAft>
                <a:spcPts val="0"/>
              </a:spcAft>
              <a:defRPr/>
            </a:pPr>
            <a:r>
              <a:rPr lang="en-US" sz="1200" b="1" kern="0" dirty="0">
                <a:solidFill>
                  <a:srgbClr val="002060"/>
                </a:solidFill>
                <a:latin typeface="Arial" pitchFamily="34" charset="0"/>
                <a:cs typeface="Arial" pitchFamily="34" charset="0"/>
              </a:rPr>
              <a:t>PPC Bulgaria </a:t>
            </a:r>
            <a:r>
              <a:rPr lang="en-US" sz="1200" b="1" kern="0" dirty="0" err="1">
                <a:solidFill>
                  <a:srgbClr val="002060"/>
                </a:solidFill>
                <a:latin typeface="Arial" pitchFamily="34" charset="0"/>
                <a:cs typeface="Arial" pitchFamily="34" charset="0"/>
              </a:rPr>
              <a:t>JSCo</a:t>
            </a:r>
            <a:endParaRPr lang="el-GR" sz="1200" b="1" kern="0" dirty="0">
              <a:solidFill>
                <a:srgbClr val="002060"/>
              </a:solidFill>
              <a:latin typeface="Arial" pitchFamily="34" charset="0"/>
              <a:cs typeface="Arial" pitchFamily="34" charset="0"/>
            </a:endParaRPr>
          </a:p>
        </p:txBody>
      </p:sp>
      <p:sp>
        <p:nvSpPr>
          <p:cNvPr id="16" name="24 - Στρογγυλεμένο ορθογώνιο"/>
          <p:cNvSpPr/>
          <p:nvPr/>
        </p:nvSpPr>
        <p:spPr bwMode="auto">
          <a:xfrm>
            <a:off x="6811987" y="2998446"/>
            <a:ext cx="1736814" cy="484188"/>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lvl="0" algn="ctr" eaLnBrk="1" fontAlgn="auto" hangingPunct="1">
              <a:spcBef>
                <a:spcPts val="0"/>
              </a:spcBef>
              <a:spcAft>
                <a:spcPts val="0"/>
              </a:spcAft>
              <a:defRPr/>
            </a:pPr>
            <a:r>
              <a:rPr lang="en-US" sz="1200" b="1" kern="0" dirty="0">
                <a:solidFill>
                  <a:srgbClr val="002060"/>
                </a:solidFill>
                <a:latin typeface="Arial" pitchFamily="34" charset="0"/>
                <a:cs typeface="Arial" pitchFamily="34" charset="0"/>
              </a:rPr>
              <a:t>PPC </a:t>
            </a:r>
            <a:r>
              <a:rPr lang="en-US" sz="1200" b="1" kern="0" dirty="0" err="1">
                <a:solidFill>
                  <a:srgbClr val="002060"/>
                </a:solidFill>
                <a:latin typeface="Arial" pitchFamily="34" charset="0"/>
                <a:cs typeface="Arial" pitchFamily="34" charset="0"/>
              </a:rPr>
              <a:t>Elektrik</a:t>
            </a:r>
            <a:r>
              <a:rPr lang="en-US" sz="1200" b="1" kern="0" dirty="0">
                <a:solidFill>
                  <a:srgbClr val="002060"/>
                </a:solidFill>
                <a:latin typeface="Arial" pitchFamily="34" charset="0"/>
                <a:cs typeface="Arial" pitchFamily="34" charset="0"/>
              </a:rPr>
              <a:t> </a:t>
            </a:r>
            <a:r>
              <a:rPr lang="en-US" sz="1200" b="1" kern="0" dirty="0" err="1">
                <a:solidFill>
                  <a:srgbClr val="002060"/>
                </a:solidFill>
                <a:latin typeface="Arial" pitchFamily="34" charset="0"/>
                <a:cs typeface="Arial" pitchFamily="34" charset="0"/>
              </a:rPr>
              <a:t>Tedarik</a:t>
            </a:r>
            <a:r>
              <a:rPr lang="en-US" sz="1200" b="1" kern="0" dirty="0">
                <a:solidFill>
                  <a:srgbClr val="002060"/>
                </a:solidFill>
                <a:latin typeface="Arial" pitchFamily="34" charset="0"/>
                <a:cs typeface="Arial" pitchFamily="34" charset="0"/>
              </a:rPr>
              <a:t> </a:t>
            </a:r>
            <a:r>
              <a:rPr lang="en-US" sz="1200" b="1" kern="0" dirty="0" err="1">
                <a:solidFill>
                  <a:srgbClr val="002060"/>
                </a:solidFill>
                <a:latin typeface="Arial" pitchFamily="34" charset="0"/>
                <a:cs typeface="Arial" pitchFamily="34" charset="0"/>
              </a:rPr>
              <a:t>Ve</a:t>
            </a:r>
            <a:r>
              <a:rPr lang="en-US" sz="1200" b="1" kern="0" dirty="0">
                <a:solidFill>
                  <a:srgbClr val="002060"/>
                </a:solidFill>
                <a:latin typeface="Arial" pitchFamily="34" charset="0"/>
                <a:cs typeface="Arial" pitchFamily="34" charset="0"/>
              </a:rPr>
              <a:t> </a:t>
            </a:r>
            <a:r>
              <a:rPr lang="en-US" sz="1200" b="1" kern="0" dirty="0" err="1">
                <a:solidFill>
                  <a:srgbClr val="002060"/>
                </a:solidFill>
                <a:latin typeface="Arial" pitchFamily="34" charset="0"/>
                <a:cs typeface="Arial" pitchFamily="34" charset="0"/>
              </a:rPr>
              <a:t>Ticaret</a:t>
            </a:r>
            <a:r>
              <a:rPr lang="en-US" sz="1200" b="1" kern="0" dirty="0">
                <a:solidFill>
                  <a:srgbClr val="002060"/>
                </a:solidFill>
                <a:latin typeface="Arial" pitchFamily="34" charset="0"/>
                <a:cs typeface="Arial" pitchFamily="34" charset="0"/>
              </a:rPr>
              <a:t> A.S.</a:t>
            </a:r>
            <a:endParaRPr lang="el-GR" sz="1200" b="1" kern="0" dirty="0">
              <a:solidFill>
                <a:srgbClr val="002060"/>
              </a:solidFill>
              <a:latin typeface="Arial" pitchFamily="34" charset="0"/>
              <a:cs typeface="Arial" pitchFamily="34" charset="0"/>
            </a:endParaRPr>
          </a:p>
        </p:txBody>
      </p:sp>
      <p:cxnSp>
        <p:nvCxnSpPr>
          <p:cNvPr id="17" name="26 - Ευθεία γραμμή σύνδεσης"/>
          <p:cNvCxnSpPr>
            <a:cxnSpLocks noChangeShapeType="1"/>
          </p:cNvCxnSpPr>
          <p:nvPr/>
        </p:nvCxnSpPr>
        <p:spPr bwMode="auto">
          <a:xfrm>
            <a:off x="4600369" y="2083254"/>
            <a:ext cx="0" cy="53975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18" name="30 - Ευθεία γραμμή σύνδεσης"/>
          <p:cNvCxnSpPr>
            <a:cxnSpLocks noChangeShapeType="1"/>
          </p:cNvCxnSpPr>
          <p:nvPr/>
        </p:nvCxnSpPr>
        <p:spPr bwMode="auto">
          <a:xfrm>
            <a:off x="572235" y="2606067"/>
            <a:ext cx="5587592" cy="1694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19" name="33 - Ευθεία γραμμή σύνδεσης"/>
          <p:cNvCxnSpPr>
            <a:cxnSpLocks noChangeShapeType="1"/>
          </p:cNvCxnSpPr>
          <p:nvPr/>
        </p:nvCxnSpPr>
        <p:spPr bwMode="auto">
          <a:xfrm>
            <a:off x="3358914" y="2614540"/>
            <a:ext cx="5319" cy="1478489"/>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20" name="39 - Ευθεία γραμμή σύνδεσης"/>
          <p:cNvCxnSpPr>
            <a:cxnSpLocks noChangeShapeType="1"/>
          </p:cNvCxnSpPr>
          <p:nvPr/>
        </p:nvCxnSpPr>
        <p:spPr bwMode="auto">
          <a:xfrm>
            <a:off x="3349094" y="3238954"/>
            <a:ext cx="744069"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21" name="43 - Ευθεία γραμμή σύνδεσης"/>
          <p:cNvCxnSpPr>
            <a:cxnSpLocks noChangeShapeType="1"/>
          </p:cNvCxnSpPr>
          <p:nvPr/>
        </p:nvCxnSpPr>
        <p:spPr bwMode="auto">
          <a:xfrm>
            <a:off x="6162616" y="3235779"/>
            <a:ext cx="664033"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22" name="46 - Ευθεία γραμμή σύνδεσης"/>
          <p:cNvCxnSpPr>
            <a:cxnSpLocks noChangeShapeType="1"/>
          </p:cNvCxnSpPr>
          <p:nvPr/>
        </p:nvCxnSpPr>
        <p:spPr bwMode="auto">
          <a:xfrm>
            <a:off x="6161151" y="2623007"/>
            <a:ext cx="9932" cy="3110291"/>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23" name="48 - TextBox"/>
          <p:cNvSpPr txBox="1">
            <a:spLocks noChangeArrowheads="1"/>
          </p:cNvSpPr>
          <p:nvPr/>
        </p:nvSpPr>
        <p:spPr bwMode="auto">
          <a:xfrm>
            <a:off x="3494101" y="3851731"/>
            <a:ext cx="5100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l-GR" altLang="el-GR" sz="1000" b="1" smtClean="0">
                <a:solidFill>
                  <a:srgbClr val="002060"/>
                </a:solidFill>
                <a:latin typeface="Arial" pitchFamily="34" charset="0"/>
                <a:cs typeface="Arial" pitchFamily="34" charset="0"/>
              </a:rPr>
              <a:t>100%</a:t>
            </a:r>
          </a:p>
        </p:txBody>
      </p:sp>
      <p:sp>
        <p:nvSpPr>
          <p:cNvPr id="24" name="51 - TextBox"/>
          <p:cNvSpPr txBox="1">
            <a:spLocks noChangeArrowheads="1"/>
          </p:cNvSpPr>
          <p:nvPr/>
        </p:nvSpPr>
        <p:spPr bwMode="auto">
          <a:xfrm>
            <a:off x="3485418" y="2994481"/>
            <a:ext cx="5702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l-GR" altLang="el-GR" sz="1000" b="1" smtClean="0">
                <a:solidFill>
                  <a:srgbClr val="002060"/>
                </a:solidFill>
                <a:latin typeface="Arial" pitchFamily="34" charset="0"/>
                <a:cs typeface="Arial" pitchFamily="34" charset="0"/>
              </a:rPr>
              <a:t>100%</a:t>
            </a:r>
          </a:p>
        </p:txBody>
      </p:sp>
      <p:sp>
        <p:nvSpPr>
          <p:cNvPr id="25" name="55 - TextBox"/>
          <p:cNvSpPr txBox="1">
            <a:spLocks noChangeArrowheads="1"/>
          </p:cNvSpPr>
          <p:nvPr/>
        </p:nvSpPr>
        <p:spPr bwMode="auto">
          <a:xfrm>
            <a:off x="6304493" y="3829506"/>
            <a:ext cx="4748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n-US" altLang="el-GR" sz="1000" b="1" dirty="0">
                <a:solidFill>
                  <a:srgbClr val="002060"/>
                </a:solidFill>
                <a:latin typeface="Arial" pitchFamily="34" charset="0"/>
                <a:cs typeface="Arial" pitchFamily="34" charset="0"/>
              </a:rPr>
              <a:t>85 </a:t>
            </a:r>
            <a:r>
              <a:rPr lang="el-GR" altLang="el-GR" sz="1000" b="1" dirty="0" smtClean="0">
                <a:solidFill>
                  <a:srgbClr val="002060"/>
                </a:solidFill>
                <a:latin typeface="Arial" pitchFamily="34" charset="0"/>
                <a:cs typeface="Arial" pitchFamily="34" charset="0"/>
              </a:rPr>
              <a:t>%</a:t>
            </a:r>
          </a:p>
        </p:txBody>
      </p:sp>
      <p:sp>
        <p:nvSpPr>
          <p:cNvPr id="26" name="56 - TextBox"/>
          <p:cNvSpPr txBox="1">
            <a:spLocks noChangeArrowheads="1"/>
          </p:cNvSpPr>
          <p:nvPr/>
        </p:nvSpPr>
        <p:spPr bwMode="auto">
          <a:xfrm>
            <a:off x="6262087" y="2958604"/>
            <a:ext cx="5100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lvl="0" eaLnBrk="1" hangingPunct="1">
              <a:spcBef>
                <a:spcPct val="0"/>
              </a:spcBef>
              <a:buSzTx/>
              <a:buNone/>
            </a:pPr>
            <a:r>
              <a:rPr lang="el-GR" altLang="el-GR" sz="1000" b="1" dirty="0">
                <a:solidFill>
                  <a:srgbClr val="002060"/>
                </a:solidFill>
                <a:latin typeface="Arial" pitchFamily="34" charset="0"/>
                <a:cs typeface="Arial" pitchFamily="34" charset="0"/>
              </a:rPr>
              <a:t>100%</a:t>
            </a:r>
          </a:p>
        </p:txBody>
      </p:sp>
      <p:sp>
        <p:nvSpPr>
          <p:cNvPr id="27" name="37 - Στρογγυλεμένο ορθογώνιο"/>
          <p:cNvSpPr/>
          <p:nvPr/>
        </p:nvSpPr>
        <p:spPr bwMode="auto">
          <a:xfrm>
            <a:off x="4003523" y="2992891"/>
            <a:ext cx="1725781" cy="485775"/>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solidFill>
                  <a:srgbClr val="002060"/>
                </a:solidFill>
                <a:latin typeface="Arial" pitchFamily="34" charset="0"/>
                <a:cs typeface="Arial" pitchFamily="34" charset="0"/>
              </a:rPr>
              <a:t>LIGNITIKI</a:t>
            </a:r>
          </a:p>
          <a:p>
            <a:pPr marL="0" marR="0" lvl="0" indent="0" algn="ctr" defTabSz="914400" eaLnBrk="1" fontAlgn="auto" latinLnBrk="0" hangingPunct="1">
              <a:lnSpc>
                <a:spcPct val="100000"/>
              </a:lnSpc>
              <a:spcBef>
                <a:spcPts val="0"/>
              </a:spcBef>
              <a:spcAft>
                <a:spcPts val="0"/>
              </a:spcAft>
              <a:buClrTx/>
              <a:buSzTx/>
              <a:buFontTx/>
              <a:buNone/>
              <a:tabLst/>
              <a:defRPr/>
            </a:pPr>
            <a:r>
              <a:rPr lang="en-US" sz="1200" b="1" kern="0" dirty="0" smtClean="0">
                <a:solidFill>
                  <a:srgbClr val="002060"/>
                </a:solidFill>
                <a:latin typeface="Arial" pitchFamily="34" charset="0"/>
                <a:cs typeface="Arial" pitchFamily="34" charset="0"/>
              </a:rPr>
              <a:t>MELITIS </a:t>
            </a:r>
            <a:r>
              <a:rPr lang="en-US" sz="1200" b="1" kern="0" dirty="0">
                <a:solidFill>
                  <a:srgbClr val="002060"/>
                </a:solidFill>
                <a:latin typeface="Arial" pitchFamily="34" charset="0"/>
                <a:cs typeface="Arial" pitchFamily="34" charset="0"/>
              </a:rPr>
              <a:t>S.A</a:t>
            </a:r>
            <a:endParaRPr kumimoji="0" lang="en-US" sz="1200" b="1" i="0" u="none" strike="noStrike" kern="0" cap="none" spc="0" normalizeH="0" baseline="0" noProof="0" dirty="0">
              <a:ln>
                <a:noFill/>
              </a:ln>
              <a:solidFill>
                <a:srgbClr val="002060"/>
              </a:solidFill>
              <a:effectLst/>
              <a:uLnTx/>
              <a:uFillTx/>
              <a:latin typeface="Arial" pitchFamily="34" charset="0"/>
              <a:cs typeface="Arial" pitchFamily="34" charset="0"/>
            </a:endParaRPr>
          </a:p>
        </p:txBody>
      </p:sp>
      <p:sp>
        <p:nvSpPr>
          <p:cNvPr id="28" name="38 - Στρογγυλεμένο ορθογώνιο"/>
          <p:cNvSpPr/>
          <p:nvPr/>
        </p:nvSpPr>
        <p:spPr bwMode="auto">
          <a:xfrm>
            <a:off x="5853055" y="1355120"/>
            <a:ext cx="1688659" cy="800219"/>
          </a:xfrm>
          <a:prstGeom prst="roundRect">
            <a:avLst/>
          </a:prstGeom>
        </p:spPr>
        <p:txBody>
          <a:bodyPr wrap="square">
            <a:spAutoFit/>
          </a:bodyPr>
          <a:lstStyle/>
          <a:p>
            <a:pPr marL="171450" indent="-171450" eaLnBrk="1" hangingPunct="1">
              <a:spcAft>
                <a:spcPts val="300"/>
              </a:spcAft>
              <a:buFont typeface="Arial" panose="020B0604020202020204" pitchFamily="34" charset="0"/>
              <a:buChar char="•"/>
            </a:pPr>
            <a:r>
              <a:rPr lang="el-GR" sz="1200" b="1" dirty="0">
                <a:solidFill>
                  <a:srgbClr val="002060"/>
                </a:solidFill>
                <a:latin typeface="Arial" pitchFamily="34" charset="0"/>
              </a:rPr>
              <a:t>  </a:t>
            </a:r>
            <a:r>
              <a:rPr lang="en-US" sz="1200" b="1" dirty="0">
                <a:solidFill>
                  <a:srgbClr val="002060"/>
                </a:solidFill>
                <a:latin typeface="Arial" pitchFamily="34" charset="0"/>
              </a:rPr>
              <a:t>MINES</a:t>
            </a:r>
          </a:p>
          <a:p>
            <a:pPr marL="171450" indent="-171450" eaLnBrk="1" hangingPunct="1">
              <a:spcAft>
                <a:spcPts val="300"/>
              </a:spcAft>
              <a:buFont typeface="Arial" panose="020B0604020202020204" pitchFamily="34" charset="0"/>
              <a:buChar char="•"/>
            </a:pPr>
            <a:r>
              <a:rPr lang="en-US" sz="1200" b="1" dirty="0">
                <a:solidFill>
                  <a:srgbClr val="002060"/>
                </a:solidFill>
                <a:latin typeface="Arial" pitchFamily="34" charset="0"/>
              </a:rPr>
              <a:t>  GENERATION</a:t>
            </a:r>
          </a:p>
          <a:p>
            <a:pPr marL="171450" indent="-171450" eaLnBrk="1" hangingPunct="1">
              <a:spcAft>
                <a:spcPts val="300"/>
              </a:spcAft>
              <a:buFont typeface="Arial" panose="020B0604020202020204" pitchFamily="34" charset="0"/>
              <a:buChar char="•"/>
            </a:pPr>
            <a:r>
              <a:rPr lang="en-US" sz="1200" b="1" dirty="0">
                <a:solidFill>
                  <a:srgbClr val="002060"/>
                </a:solidFill>
                <a:latin typeface="Arial" pitchFamily="34" charset="0"/>
              </a:rPr>
              <a:t>  SUPPLY</a:t>
            </a:r>
            <a:endParaRPr lang="el-GR" sz="1200" b="1" dirty="0">
              <a:solidFill>
                <a:srgbClr val="002060"/>
              </a:solidFill>
              <a:latin typeface="Arial" pitchFamily="34" charset="0"/>
            </a:endParaRPr>
          </a:p>
        </p:txBody>
      </p:sp>
      <p:cxnSp>
        <p:nvCxnSpPr>
          <p:cNvPr id="29" name="36 - Ευθεία γραμμή σύνδεσης"/>
          <p:cNvCxnSpPr>
            <a:cxnSpLocks noChangeShapeType="1"/>
          </p:cNvCxnSpPr>
          <p:nvPr/>
        </p:nvCxnSpPr>
        <p:spPr bwMode="auto">
          <a:xfrm>
            <a:off x="6171083" y="4090015"/>
            <a:ext cx="638486" cy="11243"/>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30" name="23 - Στρογγυλεμένο ορθογώνιο"/>
          <p:cNvSpPr/>
          <p:nvPr/>
        </p:nvSpPr>
        <p:spPr bwMode="auto">
          <a:xfrm>
            <a:off x="6847792" y="4686663"/>
            <a:ext cx="1723621" cy="484188"/>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lvl="0" algn="ctr" eaLnBrk="1" fontAlgn="auto" hangingPunct="1">
              <a:spcBef>
                <a:spcPts val="0"/>
              </a:spcBef>
              <a:spcAft>
                <a:spcPts val="0"/>
              </a:spcAft>
              <a:defRPr/>
            </a:pPr>
            <a:r>
              <a:rPr lang="en-US" sz="1200" b="1" kern="0" dirty="0">
                <a:solidFill>
                  <a:srgbClr val="002060"/>
                </a:solidFill>
                <a:latin typeface="Arial" pitchFamily="34" charset="0"/>
                <a:cs typeface="Arial" pitchFamily="34" charset="0"/>
              </a:rPr>
              <a:t>PPC Albania</a:t>
            </a:r>
            <a:endParaRPr lang="el-GR" sz="1200" b="1" kern="0" dirty="0">
              <a:solidFill>
                <a:srgbClr val="002060"/>
              </a:solidFill>
              <a:latin typeface="Arial" pitchFamily="34" charset="0"/>
              <a:cs typeface="Arial" pitchFamily="34" charset="0"/>
            </a:endParaRPr>
          </a:p>
        </p:txBody>
      </p:sp>
      <p:sp>
        <p:nvSpPr>
          <p:cNvPr id="31" name="55 - TextBox"/>
          <p:cNvSpPr txBox="1">
            <a:spLocks noChangeArrowheads="1"/>
          </p:cNvSpPr>
          <p:nvPr/>
        </p:nvSpPr>
        <p:spPr bwMode="auto">
          <a:xfrm>
            <a:off x="6282594" y="4658181"/>
            <a:ext cx="5453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n-US" altLang="el-GR" sz="1000" b="1" dirty="0">
                <a:solidFill>
                  <a:srgbClr val="002060"/>
                </a:solidFill>
                <a:latin typeface="Arial" pitchFamily="34" charset="0"/>
                <a:cs typeface="Arial" pitchFamily="34" charset="0"/>
              </a:rPr>
              <a:t>100 </a:t>
            </a:r>
            <a:r>
              <a:rPr lang="el-GR" altLang="el-GR" sz="1000" b="1" dirty="0" smtClean="0">
                <a:solidFill>
                  <a:srgbClr val="002060"/>
                </a:solidFill>
                <a:latin typeface="Arial" pitchFamily="34" charset="0"/>
                <a:cs typeface="Arial" pitchFamily="34" charset="0"/>
              </a:rPr>
              <a:t>%</a:t>
            </a:r>
          </a:p>
        </p:txBody>
      </p:sp>
      <p:cxnSp>
        <p:nvCxnSpPr>
          <p:cNvPr id="33" name="36 - Ευθεία γραμμή σύνδεσης"/>
          <p:cNvCxnSpPr>
            <a:cxnSpLocks noChangeShapeType="1"/>
          </p:cNvCxnSpPr>
          <p:nvPr/>
        </p:nvCxnSpPr>
        <p:spPr bwMode="auto">
          <a:xfrm>
            <a:off x="6169109" y="5733298"/>
            <a:ext cx="720000"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34" name="23 - Στρογγυλεμένο ορθογώνιο"/>
          <p:cNvSpPr/>
          <p:nvPr/>
        </p:nvSpPr>
        <p:spPr bwMode="auto">
          <a:xfrm>
            <a:off x="6857074" y="5491045"/>
            <a:ext cx="1723621" cy="484188"/>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lvl="0" algn="ctr" eaLnBrk="1" fontAlgn="auto" hangingPunct="1">
              <a:spcBef>
                <a:spcPts val="0"/>
              </a:spcBef>
              <a:spcAft>
                <a:spcPts val="0"/>
              </a:spcAft>
              <a:defRPr/>
            </a:pPr>
            <a:r>
              <a:rPr lang="en-US" sz="1200" b="1" kern="0" dirty="0" smtClean="0">
                <a:solidFill>
                  <a:srgbClr val="002060"/>
                </a:solidFill>
                <a:latin typeface="Arial" pitchFamily="34" charset="0"/>
                <a:cs typeface="Arial" pitchFamily="34" charset="0"/>
              </a:rPr>
              <a:t>EDS</a:t>
            </a:r>
            <a:endParaRPr lang="el-GR" sz="1200" b="1" kern="0" dirty="0">
              <a:solidFill>
                <a:srgbClr val="002060"/>
              </a:solidFill>
              <a:latin typeface="Arial" pitchFamily="34" charset="0"/>
              <a:cs typeface="Arial" pitchFamily="34" charset="0"/>
            </a:endParaRPr>
          </a:p>
        </p:txBody>
      </p:sp>
      <p:sp>
        <p:nvSpPr>
          <p:cNvPr id="35" name="55 - TextBox"/>
          <p:cNvSpPr txBox="1">
            <a:spLocks noChangeArrowheads="1"/>
          </p:cNvSpPr>
          <p:nvPr/>
        </p:nvSpPr>
        <p:spPr bwMode="auto">
          <a:xfrm>
            <a:off x="6291876" y="5462563"/>
            <a:ext cx="54534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n-US" altLang="el-GR" sz="1000" b="1" dirty="0">
                <a:solidFill>
                  <a:srgbClr val="002060"/>
                </a:solidFill>
                <a:latin typeface="Arial" pitchFamily="34" charset="0"/>
                <a:cs typeface="Arial" pitchFamily="34" charset="0"/>
              </a:rPr>
              <a:t>100 </a:t>
            </a:r>
            <a:r>
              <a:rPr lang="el-GR" altLang="el-GR" sz="1000" b="1" dirty="0" smtClean="0">
                <a:solidFill>
                  <a:srgbClr val="002060"/>
                </a:solidFill>
                <a:latin typeface="Arial" pitchFamily="34" charset="0"/>
                <a:cs typeface="Arial" pitchFamily="34" charset="0"/>
              </a:rPr>
              <a:t>%</a:t>
            </a:r>
          </a:p>
        </p:txBody>
      </p:sp>
      <p:sp>
        <p:nvSpPr>
          <p:cNvPr id="36" name="Left Brace 35"/>
          <p:cNvSpPr/>
          <p:nvPr/>
        </p:nvSpPr>
        <p:spPr bwMode="auto">
          <a:xfrm>
            <a:off x="5565767" y="1481657"/>
            <a:ext cx="304222" cy="541268"/>
          </a:xfrm>
          <a:prstGeom prst="leftBrace">
            <a:avLst/>
          </a:prstGeom>
          <a:noFill/>
          <a:ln w="19050" cap="flat" cmpd="sng" algn="ctr">
            <a:solidFill>
              <a:srgbClr val="00206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l-GR" sz="1100" b="1" i="0" u="none" strike="noStrike" cap="none" normalizeH="0" baseline="0" dirty="0">
              <a:ln>
                <a:noFill/>
              </a:ln>
              <a:solidFill>
                <a:srgbClr val="002060"/>
              </a:solidFill>
              <a:effectLst/>
              <a:latin typeface="Arial" pitchFamily="-109" charset="0"/>
              <a:ea typeface="Arial Unicode MS" pitchFamily="-109" charset="0"/>
              <a:cs typeface="Arial Unicode MS" pitchFamily="-109" charset="0"/>
            </a:endParaRPr>
          </a:p>
        </p:txBody>
      </p:sp>
      <p:cxnSp>
        <p:nvCxnSpPr>
          <p:cNvPr id="37" name="35 - Ευθεία γραμμή σύνδεσης"/>
          <p:cNvCxnSpPr>
            <a:cxnSpLocks noChangeShapeType="1"/>
          </p:cNvCxnSpPr>
          <p:nvPr/>
        </p:nvCxnSpPr>
        <p:spPr bwMode="auto">
          <a:xfrm>
            <a:off x="566373" y="4084556"/>
            <a:ext cx="665498"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38" name="36 - Ευθεία γραμμή σύνδεσης"/>
          <p:cNvCxnSpPr>
            <a:cxnSpLocks noChangeShapeType="1"/>
          </p:cNvCxnSpPr>
          <p:nvPr/>
        </p:nvCxnSpPr>
        <p:spPr bwMode="auto">
          <a:xfrm>
            <a:off x="572235" y="4943394"/>
            <a:ext cx="665498"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39" name="19 - Στρογγυλεμένο ορθογώνιο"/>
          <p:cNvSpPr/>
          <p:nvPr/>
        </p:nvSpPr>
        <p:spPr bwMode="auto">
          <a:xfrm>
            <a:off x="1217211" y="3859134"/>
            <a:ext cx="1726552" cy="484187"/>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itchFamily="34" charset="0"/>
                <a:cs typeface="Arial" pitchFamily="34" charset="0"/>
              </a:rPr>
              <a:t>PPC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itchFamily="34" charset="0"/>
                <a:cs typeface="Arial" pitchFamily="34" charset="0"/>
              </a:rPr>
              <a:t>Renewables S.A</a:t>
            </a:r>
          </a:p>
        </p:txBody>
      </p:sp>
      <p:sp>
        <p:nvSpPr>
          <p:cNvPr id="40" name="20 - Στρογγυλεμένο ορθογώνιο"/>
          <p:cNvSpPr/>
          <p:nvPr/>
        </p:nvSpPr>
        <p:spPr bwMode="auto">
          <a:xfrm>
            <a:off x="1217211" y="4670343"/>
            <a:ext cx="1726552" cy="484188"/>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effectLst/>
                <a:uLnTx/>
                <a:uFillTx/>
                <a:latin typeface="Arial" pitchFamily="34" charset="0"/>
                <a:cs typeface="Arial" pitchFamily="34" charset="0"/>
              </a:rPr>
              <a:t>PPC FINANCE PLC</a:t>
            </a:r>
            <a:endParaRPr kumimoji="0" lang="el-GR" sz="1200" b="1" i="0" u="none" strike="noStrike" kern="0" cap="none" spc="0" normalizeH="0" baseline="0" noProof="0" dirty="0">
              <a:ln>
                <a:noFill/>
              </a:ln>
              <a:solidFill>
                <a:srgbClr val="002060"/>
              </a:solidFill>
              <a:effectLst/>
              <a:uLnTx/>
              <a:uFillTx/>
              <a:latin typeface="Arial" pitchFamily="34" charset="0"/>
              <a:cs typeface="Arial" pitchFamily="34" charset="0"/>
            </a:endParaRPr>
          </a:p>
        </p:txBody>
      </p:sp>
      <p:cxnSp>
        <p:nvCxnSpPr>
          <p:cNvPr id="41" name="33 - Ευθεία γραμμή σύνδεσης"/>
          <p:cNvCxnSpPr>
            <a:cxnSpLocks noChangeShapeType="1"/>
          </p:cNvCxnSpPr>
          <p:nvPr/>
        </p:nvCxnSpPr>
        <p:spPr bwMode="auto">
          <a:xfrm>
            <a:off x="573373" y="2606067"/>
            <a:ext cx="1795" cy="2337327"/>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cxnSp>
        <p:nvCxnSpPr>
          <p:cNvPr id="42" name="39 - Ευθεία γραμμή σύνδεσης"/>
          <p:cNvCxnSpPr>
            <a:cxnSpLocks noChangeShapeType="1"/>
          </p:cNvCxnSpPr>
          <p:nvPr/>
        </p:nvCxnSpPr>
        <p:spPr bwMode="auto">
          <a:xfrm>
            <a:off x="563553" y="3230481"/>
            <a:ext cx="744069" cy="0"/>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43" name="48 - TextBox"/>
          <p:cNvSpPr txBox="1">
            <a:spLocks noChangeArrowheads="1"/>
          </p:cNvSpPr>
          <p:nvPr/>
        </p:nvSpPr>
        <p:spPr bwMode="auto">
          <a:xfrm>
            <a:off x="708560" y="3843258"/>
            <a:ext cx="51007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l-GR" altLang="el-GR" sz="1000" b="1" dirty="0" smtClean="0">
                <a:solidFill>
                  <a:srgbClr val="002060"/>
                </a:solidFill>
                <a:latin typeface="Arial" pitchFamily="34" charset="0"/>
                <a:cs typeface="Arial" pitchFamily="34" charset="0"/>
              </a:rPr>
              <a:t>100%</a:t>
            </a:r>
          </a:p>
        </p:txBody>
      </p:sp>
      <p:sp>
        <p:nvSpPr>
          <p:cNvPr id="44" name="49 - TextBox"/>
          <p:cNvSpPr txBox="1">
            <a:spLocks noChangeArrowheads="1"/>
          </p:cNvSpPr>
          <p:nvPr/>
        </p:nvSpPr>
        <p:spPr bwMode="auto">
          <a:xfrm>
            <a:off x="707094" y="4671933"/>
            <a:ext cx="4395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n-US" altLang="el-GR" sz="1000" b="1" smtClean="0">
                <a:solidFill>
                  <a:srgbClr val="002060"/>
                </a:solidFill>
                <a:latin typeface="Arial" pitchFamily="34" charset="0"/>
                <a:cs typeface="Arial" pitchFamily="34" charset="0"/>
              </a:rPr>
              <a:t>9</a:t>
            </a:r>
            <a:r>
              <a:rPr lang="el-GR" altLang="el-GR" sz="1000" b="1" smtClean="0">
                <a:solidFill>
                  <a:srgbClr val="002060"/>
                </a:solidFill>
                <a:latin typeface="Arial" pitchFamily="34" charset="0"/>
                <a:cs typeface="Arial" pitchFamily="34" charset="0"/>
              </a:rPr>
              <a:t>0%</a:t>
            </a:r>
          </a:p>
        </p:txBody>
      </p:sp>
      <p:sp>
        <p:nvSpPr>
          <p:cNvPr id="45" name="51 - TextBox"/>
          <p:cNvSpPr txBox="1">
            <a:spLocks noChangeArrowheads="1"/>
          </p:cNvSpPr>
          <p:nvPr/>
        </p:nvSpPr>
        <p:spPr bwMode="auto">
          <a:xfrm>
            <a:off x="699877" y="2986008"/>
            <a:ext cx="570297"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50000"/>
              </a:spcBef>
              <a:buSzPct val="70000"/>
              <a:buFont typeface="Wingdings" pitchFamily="2" charset="2"/>
              <a:buChar char="n"/>
              <a:defRPr sz="1400">
                <a:solidFill>
                  <a:srgbClr val="000066"/>
                </a:solidFill>
                <a:latin typeface="Tahoma" pitchFamily="34" charset="0"/>
              </a:defRPr>
            </a:lvl1pPr>
            <a:lvl2pPr marL="742950" indent="-285750" eaLnBrk="0" hangingPunct="0">
              <a:buSzPct val="100000"/>
              <a:buChar char="•"/>
              <a:defRPr sz="1400">
                <a:solidFill>
                  <a:srgbClr val="000066"/>
                </a:solidFill>
                <a:latin typeface="Tahoma" pitchFamily="34" charset="0"/>
              </a:defRPr>
            </a:lvl2pPr>
            <a:lvl3pPr marL="1143000" indent="-228600" eaLnBrk="0" hangingPunct="0">
              <a:buSzPct val="100000"/>
              <a:buChar char="—"/>
              <a:defRPr sz="1400">
                <a:solidFill>
                  <a:srgbClr val="000066"/>
                </a:solidFill>
                <a:latin typeface="Tahoma" pitchFamily="34" charset="0"/>
              </a:defRPr>
            </a:lvl3pPr>
            <a:lvl4pPr marL="1600200" indent="-228600" eaLnBrk="0" hangingPunct="0">
              <a:buClr>
                <a:schemeClr val="tx1"/>
              </a:buClr>
              <a:buSzPct val="100000"/>
              <a:buChar char="–"/>
              <a:defRPr sz="1400">
                <a:solidFill>
                  <a:srgbClr val="000066"/>
                </a:solidFill>
                <a:latin typeface="Tahoma" pitchFamily="34" charset="0"/>
              </a:defRPr>
            </a:lvl4pPr>
            <a:lvl5pPr marL="2057400" indent="-228600" eaLnBrk="0" hangingPunct="0">
              <a:spcBef>
                <a:spcPct val="20000"/>
              </a:spcBef>
              <a:buChar char="»"/>
              <a:defRPr sz="2000">
                <a:solidFill>
                  <a:schemeClr val="tx1"/>
                </a:solidFill>
                <a:latin typeface="Times New Roman" pitchFamily="18" charset="0"/>
              </a:defRPr>
            </a:lvl5pPr>
            <a:lvl6pPr marL="2514600" indent="-228600" eaLnBrk="0" fontAlgn="base" hangingPunct="0">
              <a:spcBef>
                <a:spcPct val="20000"/>
              </a:spcBef>
              <a:spcAft>
                <a:spcPct val="0"/>
              </a:spcAft>
              <a:buChar char="»"/>
              <a:defRPr sz="2000">
                <a:solidFill>
                  <a:schemeClr val="tx1"/>
                </a:solidFill>
                <a:latin typeface="Times New Roman" pitchFamily="18" charset="0"/>
              </a:defRPr>
            </a:lvl6pPr>
            <a:lvl7pPr marL="2971800" indent="-228600" eaLnBrk="0" fontAlgn="base" hangingPunct="0">
              <a:spcBef>
                <a:spcPct val="20000"/>
              </a:spcBef>
              <a:spcAft>
                <a:spcPct val="0"/>
              </a:spcAft>
              <a:buChar char="»"/>
              <a:defRPr sz="2000">
                <a:solidFill>
                  <a:schemeClr val="tx1"/>
                </a:solidFill>
                <a:latin typeface="Times New Roman" pitchFamily="18" charset="0"/>
              </a:defRPr>
            </a:lvl7pPr>
            <a:lvl8pPr marL="3429000" indent="-228600" eaLnBrk="0" fontAlgn="base" hangingPunct="0">
              <a:spcBef>
                <a:spcPct val="20000"/>
              </a:spcBef>
              <a:spcAft>
                <a:spcPct val="0"/>
              </a:spcAft>
              <a:buChar char="»"/>
              <a:defRPr sz="2000">
                <a:solidFill>
                  <a:schemeClr val="tx1"/>
                </a:solidFill>
                <a:latin typeface="Times New Roman" pitchFamily="18" charset="0"/>
              </a:defRPr>
            </a:lvl8pPr>
            <a:lvl9pPr marL="3886200" indent="-228600" eaLnBrk="0" fontAlgn="base" hangingPunct="0">
              <a:spcBef>
                <a:spcPct val="20000"/>
              </a:spcBef>
              <a:spcAft>
                <a:spcPct val="0"/>
              </a:spcAft>
              <a:buChar char="»"/>
              <a:defRPr sz="2000">
                <a:solidFill>
                  <a:schemeClr val="tx1"/>
                </a:solidFill>
                <a:latin typeface="Times New Roman" pitchFamily="18" charset="0"/>
              </a:defRPr>
            </a:lvl9pPr>
          </a:lstStyle>
          <a:p>
            <a:pPr eaLnBrk="1" hangingPunct="1">
              <a:spcBef>
                <a:spcPct val="0"/>
              </a:spcBef>
              <a:buSzTx/>
              <a:buFontTx/>
              <a:buNone/>
            </a:pPr>
            <a:r>
              <a:rPr lang="el-GR" altLang="el-GR" sz="1000" b="1" dirty="0" smtClean="0">
                <a:solidFill>
                  <a:srgbClr val="002060"/>
                </a:solidFill>
                <a:latin typeface="Arial" pitchFamily="34" charset="0"/>
                <a:cs typeface="Arial" pitchFamily="34" charset="0"/>
              </a:rPr>
              <a:t>100%</a:t>
            </a:r>
          </a:p>
        </p:txBody>
      </p:sp>
      <p:sp>
        <p:nvSpPr>
          <p:cNvPr id="46" name="37 - Στρογγυλεμένο ορθογώνιο"/>
          <p:cNvSpPr/>
          <p:nvPr/>
        </p:nvSpPr>
        <p:spPr bwMode="auto">
          <a:xfrm>
            <a:off x="1217982" y="2984418"/>
            <a:ext cx="1725781" cy="485775"/>
          </a:xfrm>
          <a:prstGeom prst="roundRect">
            <a:avLst/>
          </a:prstGeom>
          <a:solidFill>
            <a:srgbClr val="D5E2FF"/>
          </a:solidFill>
          <a:ln w="12700" cap="flat" cmpd="sng" algn="ctr">
            <a:solidFill>
              <a:srgbClr val="000000"/>
            </a:solidFill>
            <a:prstDash val="solid"/>
            <a:round/>
            <a:headEnd type="none" w="med" len="med"/>
            <a:tailEnd type="none" w="med" len="med"/>
          </a:ln>
          <a:effectLst>
            <a:outerShdw blurRad="50800" dist="38100" dir="2700000" algn="tl" rotWithShape="0">
              <a:prstClr val="black">
                <a:alpha val="40000"/>
              </a:prstClr>
            </a:outerShdw>
          </a:effectLst>
        </p:spPr>
        <p:txBody>
          <a:bodyPr lIns="54864" tIns="27432" rIns="54864" bIns="27432"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2060"/>
                </a:solidFill>
                <a:uLnTx/>
                <a:uFillTx/>
                <a:latin typeface="Arial" pitchFamily="34" charset="0"/>
                <a:cs typeface="Arial" pitchFamily="34" charset="0"/>
              </a:rPr>
              <a:t>HEDNO S.A. </a:t>
            </a:r>
          </a:p>
        </p:txBody>
      </p:sp>
      <p:cxnSp>
        <p:nvCxnSpPr>
          <p:cNvPr id="47" name="40 - Ευθεία γραμμή σύνδεσης"/>
          <p:cNvCxnSpPr>
            <a:cxnSpLocks noChangeShapeType="1"/>
          </p:cNvCxnSpPr>
          <p:nvPr/>
        </p:nvCxnSpPr>
        <p:spPr bwMode="auto">
          <a:xfrm>
            <a:off x="2074681" y="4343320"/>
            <a:ext cx="0" cy="327025"/>
          </a:xfrm>
          <a:prstGeom prst="line">
            <a:avLst/>
          </a:prstGeom>
          <a:noFill/>
          <a:ln w="12700" algn="ctr">
            <a:solidFill>
              <a:srgbClr val="000000"/>
            </a:solidFill>
            <a:round/>
            <a:headEnd/>
            <a:tailEnd/>
          </a:ln>
          <a:extLst>
            <a:ext uri="{909E8E84-426E-40DD-AFC4-6F175D3DCCD1}">
              <a14:hiddenFill xmlns:a14="http://schemas.microsoft.com/office/drawing/2010/main">
                <a:noFill/>
              </a14:hiddenFill>
            </a:ext>
          </a:extLst>
        </p:spPr>
      </p:cxnSp>
      <p:sp>
        <p:nvSpPr>
          <p:cNvPr id="48" name="49 - TextBox"/>
          <p:cNvSpPr txBox="1">
            <a:spLocks noChangeArrowheads="1"/>
          </p:cNvSpPr>
          <p:nvPr/>
        </p:nvSpPr>
        <p:spPr bwMode="auto">
          <a:xfrm>
            <a:off x="1684881" y="4392533"/>
            <a:ext cx="4395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GB"/>
            </a:defPPr>
            <a:lvl1pPr eaLnBrk="1" hangingPunct="1">
              <a:buSzTx/>
              <a:buFontTx/>
              <a:buNone/>
              <a:defRPr sz="1000" b="1">
                <a:solidFill>
                  <a:srgbClr val="002060"/>
                </a:solidFill>
                <a:latin typeface="Arial" pitchFamily="34" charset="0"/>
                <a:cs typeface="Arial" pitchFamily="34" charset="0"/>
              </a:defRPr>
            </a:lvl1pPr>
            <a:lvl2pPr marL="742950" indent="-285750">
              <a:buSzPct val="100000"/>
              <a:buChar char="•"/>
              <a:defRPr sz="1400">
                <a:solidFill>
                  <a:srgbClr val="000066"/>
                </a:solidFill>
                <a:latin typeface="Tahoma" pitchFamily="34" charset="0"/>
              </a:defRPr>
            </a:lvl2pPr>
            <a:lvl3pPr marL="1143000" indent="-228600">
              <a:buSzPct val="100000"/>
              <a:buChar char="—"/>
              <a:defRPr sz="1400">
                <a:solidFill>
                  <a:srgbClr val="000066"/>
                </a:solidFill>
                <a:latin typeface="Tahoma" pitchFamily="34" charset="0"/>
              </a:defRPr>
            </a:lvl3pPr>
            <a:lvl4pPr marL="1600200" indent="-228600">
              <a:buClr>
                <a:schemeClr val="tx1"/>
              </a:buClr>
              <a:buSzPct val="100000"/>
              <a:buChar char="–"/>
              <a:defRPr sz="1400">
                <a:solidFill>
                  <a:srgbClr val="000066"/>
                </a:solidFill>
                <a:latin typeface="Tahoma" pitchFamily="34" charset="0"/>
              </a:defRPr>
            </a:lvl4pPr>
            <a:lvl5pPr marL="2057400" indent="-228600">
              <a:spcBef>
                <a:spcPct val="20000"/>
              </a:spcBef>
              <a:buChar char="»"/>
              <a:defRPr sz="2000">
                <a:latin typeface="Times New Roman" pitchFamily="18" charset="0"/>
              </a:defRPr>
            </a:lvl5pPr>
            <a:lvl6pPr marL="2514600" indent="-228600" eaLnBrk="0" fontAlgn="base" hangingPunct="0">
              <a:spcBef>
                <a:spcPct val="20000"/>
              </a:spcBef>
              <a:spcAft>
                <a:spcPct val="0"/>
              </a:spcAft>
              <a:buChar char="»"/>
              <a:defRPr sz="2000">
                <a:latin typeface="Times New Roman" pitchFamily="18" charset="0"/>
              </a:defRPr>
            </a:lvl6pPr>
            <a:lvl7pPr marL="2971800" indent="-228600" eaLnBrk="0" fontAlgn="base" hangingPunct="0">
              <a:spcBef>
                <a:spcPct val="20000"/>
              </a:spcBef>
              <a:spcAft>
                <a:spcPct val="0"/>
              </a:spcAft>
              <a:buChar char="»"/>
              <a:defRPr sz="2000">
                <a:latin typeface="Times New Roman" pitchFamily="18" charset="0"/>
              </a:defRPr>
            </a:lvl7pPr>
            <a:lvl8pPr marL="3429000" indent="-228600" eaLnBrk="0" fontAlgn="base" hangingPunct="0">
              <a:spcBef>
                <a:spcPct val="20000"/>
              </a:spcBef>
              <a:spcAft>
                <a:spcPct val="0"/>
              </a:spcAft>
              <a:buChar char="»"/>
              <a:defRPr sz="2000">
                <a:latin typeface="Times New Roman" pitchFamily="18" charset="0"/>
              </a:defRPr>
            </a:lvl8pPr>
            <a:lvl9pPr marL="3886200" indent="-228600" eaLnBrk="0" fontAlgn="base" hangingPunct="0">
              <a:spcBef>
                <a:spcPct val="20000"/>
              </a:spcBef>
              <a:spcAft>
                <a:spcPct val="0"/>
              </a:spcAft>
              <a:buChar char="»"/>
              <a:defRPr sz="2000">
                <a:latin typeface="Times New Roman" pitchFamily="18" charset="0"/>
              </a:defRPr>
            </a:lvl9pPr>
          </a:lstStyle>
          <a:p>
            <a:r>
              <a:rPr lang="el-GR" altLang="el-GR" dirty="0"/>
              <a:t>10%</a:t>
            </a:r>
          </a:p>
        </p:txBody>
      </p:sp>
      <p:sp>
        <p:nvSpPr>
          <p:cNvPr id="2" name="Rectangle 1"/>
          <p:cNvSpPr/>
          <p:nvPr/>
        </p:nvSpPr>
        <p:spPr bwMode="auto">
          <a:xfrm>
            <a:off x="3494101" y="2743198"/>
            <a:ext cx="2534166" cy="2073837"/>
          </a:xfrm>
          <a:prstGeom prst="rect">
            <a:avLst/>
          </a:prstGeom>
          <a:noFill/>
          <a:ln w="12700" cap="flat" cmpd="sng" algn="ctr">
            <a:solidFill>
              <a:srgbClr val="002060"/>
            </a:solidFill>
            <a:prstDash val="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l-GR" sz="1100" b="0" i="0" u="none" strike="noStrike" cap="none" normalizeH="0" baseline="0">
              <a:ln>
                <a:noFill/>
              </a:ln>
              <a:solidFill>
                <a:srgbClr val="C00000"/>
              </a:solidFill>
              <a:effectLst/>
              <a:latin typeface="Arial" pitchFamily="-109" charset="0"/>
              <a:ea typeface="Arial Unicode MS" pitchFamily="-109" charset="0"/>
              <a:cs typeface="Arial Unicode MS" pitchFamily="-109" charset="0"/>
            </a:endParaRPr>
          </a:p>
        </p:txBody>
      </p:sp>
      <p:sp>
        <p:nvSpPr>
          <p:cNvPr id="3" name="TextBox 2"/>
          <p:cNvSpPr txBox="1"/>
          <p:nvPr/>
        </p:nvSpPr>
        <p:spPr>
          <a:xfrm>
            <a:off x="4278104" y="4456769"/>
            <a:ext cx="1109599" cy="261610"/>
          </a:xfrm>
          <a:prstGeom prst="rect">
            <a:avLst/>
          </a:prstGeom>
          <a:noFill/>
        </p:spPr>
        <p:txBody>
          <a:bodyPr wrap="none" rtlCol="0">
            <a:spAutoFit/>
          </a:bodyPr>
          <a:lstStyle/>
          <a:p>
            <a:r>
              <a:rPr lang="en-US" dirty="0" smtClean="0">
                <a:solidFill>
                  <a:srgbClr val="002060"/>
                </a:solidFill>
              </a:rPr>
              <a:t>To </a:t>
            </a:r>
            <a:r>
              <a:rPr lang="en-US" dirty="0">
                <a:solidFill>
                  <a:srgbClr val="002060"/>
                </a:solidFill>
              </a:rPr>
              <a:t>be </a:t>
            </a:r>
            <a:r>
              <a:rPr lang="en-US" dirty="0" smtClean="0">
                <a:solidFill>
                  <a:srgbClr val="002060"/>
                </a:solidFill>
              </a:rPr>
              <a:t>divested</a:t>
            </a:r>
            <a:endParaRPr lang="en-US" dirty="0">
              <a:solidFill>
                <a:srgbClr val="002060"/>
              </a:solidFill>
            </a:endParaRPr>
          </a:p>
        </p:txBody>
      </p:sp>
    </p:spTree>
    <p:extLst>
      <p:ext uri="{BB962C8B-B14F-4D97-AF65-F5344CB8AC3E}">
        <p14:creationId xmlns:p14="http://schemas.microsoft.com/office/powerpoint/2010/main" val="14719764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91" name="think-cell Slide" r:id="rId7" imgW="384" imgH="384" progId="TCLayout.ActiveDocument.1">
                  <p:embed/>
                </p:oleObj>
              </mc:Choice>
              <mc:Fallback>
                <p:oleObj name="think-cell Slide" r:id="rId7" imgW="384" imgH="384"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Slide Number Placeholder 4"/>
          <p:cNvSpPr txBox="1">
            <a:spLocks/>
          </p:cNvSpPr>
          <p:nvPr/>
        </p:nvSpPr>
        <p:spPr>
          <a:xfrm>
            <a:off x="8878254" y="6529554"/>
            <a:ext cx="317500" cy="188913"/>
          </a:xfrm>
          <a:prstGeom prst="rect">
            <a:avLst/>
          </a:prstGeom>
        </p:spPr>
        <p:txBody>
          <a:bodyP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a:defRPr/>
            </a:pPr>
            <a:fld id="{ACAC583F-A320-4755-A148-4B03D13D5D56}" type="slidenum">
              <a:rPr lang="en-GB" sz="800" b="1" smtClean="0"/>
              <a:pPr>
                <a:defRPr/>
              </a:pPr>
              <a:t>4</a:t>
            </a:fld>
            <a:endParaRPr lang="en-GB" sz="800" b="1" dirty="0"/>
          </a:p>
        </p:txBody>
      </p:sp>
      <p:sp>
        <p:nvSpPr>
          <p:cNvPr id="122" name="LinedBox_3"/>
          <p:cNvSpPr>
            <a:spLocks noChangeArrowheads="1"/>
          </p:cNvSpPr>
          <p:nvPr>
            <p:custDataLst>
              <p:tags r:id="rId3"/>
            </p:custDataLst>
          </p:nvPr>
        </p:nvSpPr>
        <p:spPr bwMode="gray">
          <a:xfrm>
            <a:off x="417635" y="969960"/>
            <a:ext cx="5117123" cy="225425"/>
          </a:xfrm>
          <a:prstGeom prst="rect">
            <a:avLst/>
          </a:prstGeom>
          <a:solidFill>
            <a:schemeClr val="bg1"/>
          </a:solidFill>
          <a:ln>
            <a:noFill/>
          </a:ln>
          <a:effectLst>
            <a:outerShdw dist="12700" dir="5400000" sx="99899" sy="99899" algn="ctr" rotWithShape="0">
              <a:srgbClr val="002060"/>
            </a:outerShdw>
          </a:effectLst>
          <a:extLst/>
        </p:spPr>
        <p:txBody>
          <a:bodyPr lIns="36000" tIns="46784" rIns="36000" bIns="25200" anchor="b">
            <a:spAutoFit/>
          </a:bodyPr>
          <a:lstStyle/>
          <a:p>
            <a:pPr algn="ctr" defTabSz="728663" fontAlgn="auto">
              <a:lnSpc>
                <a:spcPct val="90000"/>
              </a:lnSpc>
              <a:spcBef>
                <a:spcPts val="0"/>
              </a:spcBef>
              <a:spcAft>
                <a:spcPts val="0"/>
              </a:spcAft>
              <a:defRPr/>
            </a:pPr>
            <a:r>
              <a:rPr lang="en-US" sz="1100" b="1" dirty="0">
                <a:solidFill>
                  <a:srgbClr val="002060"/>
                </a:solidFill>
                <a:latin typeface="Arial" pitchFamily="34" charset="0"/>
                <a:ea typeface="BatangChe" pitchFamily="49" charset="-127"/>
                <a:cs typeface="Arial" pitchFamily="34" charset="0"/>
              </a:rPr>
              <a:t>Asset Portfolio</a:t>
            </a:r>
          </a:p>
        </p:txBody>
      </p:sp>
      <p:graphicFrame>
        <p:nvGraphicFramePr>
          <p:cNvPr id="123" name="Group 109"/>
          <p:cNvGraphicFramePr>
            <a:graphicFrameLocks noGrp="1"/>
          </p:cNvGraphicFramePr>
          <p:nvPr>
            <p:extLst>
              <p:ext uri="{D42A27DB-BD31-4B8C-83A1-F6EECF244321}">
                <p14:modId xmlns:p14="http://schemas.microsoft.com/office/powerpoint/2010/main" val="639226544"/>
              </p:ext>
            </p:extLst>
          </p:nvPr>
        </p:nvGraphicFramePr>
        <p:xfrm>
          <a:off x="5752731" y="501429"/>
          <a:ext cx="2972890" cy="5032274"/>
        </p:xfrm>
        <a:graphic>
          <a:graphicData uri="http://schemas.openxmlformats.org/drawingml/2006/table">
            <a:tbl>
              <a:tblPr/>
              <a:tblGrid>
                <a:gridCol w="1908698"/>
                <a:gridCol w="1064192"/>
              </a:tblGrid>
              <a:tr h="72799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Power Plants</a:t>
                      </a:r>
                    </a:p>
                  </a:txBody>
                  <a:tcPr marL="33231" marR="33231" marT="45718" marB="4571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Installed Capacity (MW)</a:t>
                      </a:r>
                    </a:p>
                  </a:txBody>
                  <a:tcPr marL="33231" marR="33231" marT="45718" marB="45718" anchor="b"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2162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Interconnected System</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	9,335</a:t>
                      </a:r>
                      <a:endParaRPr kumimoji="0" lang="en-US" sz="1100" b="1" i="0" u="none" strike="noStrike" cap="none" normalizeH="0" baseline="30000" dirty="0" smtClean="0">
                        <a:ln>
                          <a:noFill/>
                        </a:ln>
                        <a:solidFill>
                          <a:srgbClr val="002060"/>
                        </a:solidFill>
                        <a:effectLst/>
                        <a:latin typeface="Arial" pitchFamily="34" charset="0"/>
                        <a:cs typeface="Arial" pitchFamily="34" charset="0"/>
                      </a:endParaRP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1623">
                <a:tc>
                  <a:txBody>
                    <a:bodyPr/>
                    <a:lstStyle/>
                    <a:p>
                      <a:pPr marL="361950" marR="0" lvl="0" indent="-180975" algn="l" defTabSz="914400" rtl="0" eaLnBrk="1" fontAlgn="ctr" latinLnBrk="0" hangingPunct="1">
                        <a:lnSpc>
                          <a:spcPct val="100000"/>
                        </a:lnSpc>
                        <a:spcBef>
                          <a:spcPct val="0"/>
                        </a:spcBef>
                        <a:spcAft>
                          <a:spcPct val="0"/>
                        </a:spcAft>
                        <a:buClrTx/>
                        <a:buSzTx/>
                        <a:buFont typeface="Arial" pitchFamily="34" charset="0"/>
                        <a:buChar char="•"/>
                        <a:tabLst/>
                      </a:pPr>
                      <a:r>
                        <a:rPr kumimoji="0" lang="en-US" sz="1100" b="0" i="0" u="none" strike="noStrike" kern="1200" cap="none" normalizeH="0" baseline="0" dirty="0" smtClean="0">
                          <a:ln>
                            <a:noFill/>
                          </a:ln>
                          <a:solidFill>
                            <a:srgbClr val="002060"/>
                          </a:solidFill>
                          <a:effectLst/>
                          <a:latin typeface="Arial" pitchFamily="34" charset="0"/>
                          <a:ea typeface="+mn-ea"/>
                          <a:cs typeface="Arial" pitchFamily="34" charset="0"/>
                        </a:rPr>
                        <a:t>Thermal</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0" u="none" strike="noStrike" cap="none" normalizeH="0" baseline="0" dirty="0" smtClean="0">
                          <a:ln>
                            <a:noFill/>
                          </a:ln>
                          <a:solidFill>
                            <a:srgbClr val="002060"/>
                          </a:solidFill>
                          <a:effectLst/>
                          <a:latin typeface="Arial" pitchFamily="34" charset="0"/>
                          <a:cs typeface="Arial" pitchFamily="34" charset="0"/>
                        </a:rPr>
                        <a:t>	6,096</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1623">
                <a:tc>
                  <a:txBody>
                    <a:bodyPr/>
                    <a:lstStyle/>
                    <a:p>
                      <a:pPr marL="646113" marR="0" lvl="0" indent="-285750" algn="l" defTabSz="914400" rtl="0" eaLnBrk="1" fontAlgn="ctr" latinLnBrk="0" hangingPunct="1">
                        <a:lnSpc>
                          <a:spcPct val="100000"/>
                        </a:lnSpc>
                        <a:spcBef>
                          <a:spcPct val="0"/>
                        </a:spcBef>
                        <a:spcAft>
                          <a:spcPct val="0"/>
                        </a:spcAft>
                        <a:buClrTx/>
                        <a:buSzTx/>
                        <a:buFont typeface="Wingdings" pitchFamily="2" charset="2"/>
                        <a:buChar char="Ø"/>
                        <a:tabLst/>
                      </a:pPr>
                      <a:r>
                        <a:rPr kumimoji="0" lang="en-US" sz="1100" b="0" i="1" u="none" strike="noStrike" cap="none" normalizeH="0" baseline="0" dirty="0" smtClean="0">
                          <a:ln>
                            <a:noFill/>
                          </a:ln>
                          <a:solidFill>
                            <a:srgbClr val="002060"/>
                          </a:solidFill>
                          <a:effectLst/>
                          <a:latin typeface="Arial" pitchFamily="34" charset="0"/>
                          <a:cs typeface="Arial" pitchFamily="34" charset="0"/>
                        </a:rPr>
                        <a:t>Lignite </a:t>
                      </a:r>
                      <a:r>
                        <a:rPr kumimoji="0" lang="en-US" sz="1100" b="0" i="1" u="none" strike="noStrike" cap="none" normalizeH="0" baseline="30000" dirty="0" smtClean="0">
                          <a:ln>
                            <a:noFill/>
                          </a:ln>
                          <a:solidFill>
                            <a:srgbClr val="002060"/>
                          </a:solidFill>
                          <a:effectLst/>
                          <a:latin typeface="Arial" pitchFamily="34" charset="0"/>
                          <a:cs typeface="Arial" pitchFamily="34" charset="0"/>
                        </a:rPr>
                        <a:t>(*)</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1" u="none" strike="noStrike" cap="none" normalizeH="0" baseline="0" dirty="0" smtClean="0">
                          <a:ln>
                            <a:noFill/>
                          </a:ln>
                          <a:solidFill>
                            <a:srgbClr val="002060"/>
                          </a:solidFill>
                          <a:effectLst/>
                          <a:latin typeface="Arial" pitchFamily="34" charset="0"/>
                          <a:cs typeface="Arial" pitchFamily="34" charset="0"/>
                        </a:rPr>
                        <a:t>	</a:t>
                      </a:r>
                      <a:r>
                        <a:rPr kumimoji="0" lang="en-US" sz="1100" b="0" i="1" u="none" strike="noStrike" cap="none" normalizeH="0" baseline="0" dirty="0" smtClean="0">
                          <a:ln>
                            <a:noFill/>
                          </a:ln>
                          <a:solidFill>
                            <a:srgbClr val="002060"/>
                          </a:solidFill>
                          <a:effectLst/>
                          <a:latin typeface="Arial" pitchFamily="34" charset="0"/>
                          <a:cs typeface="Arial" pitchFamily="34" charset="0"/>
                        </a:rPr>
                        <a:t>4,337</a:t>
                      </a:r>
                      <a:endParaRPr kumimoji="0" lang="en-US" sz="1100" b="0" i="1" u="none" strike="noStrike" cap="none" normalizeH="0" baseline="0" dirty="0" smtClean="0">
                        <a:ln>
                          <a:noFill/>
                        </a:ln>
                        <a:solidFill>
                          <a:srgbClr val="002060"/>
                        </a:solidFill>
                        <a:effectLst/>
                        <a:latin typeface="Arial" pitchFamily="34" charset="0"/>
                        <a:cs typeface="Arial" pitchFamily="34" charset="0"/>
                      </a:endParaRP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1623">
                <a:tc>
                  <a:txBody>
                    <a:bodyPr/>
                    <a:lstStyle/>
                    <a:p>
                      <a:pPr marL="646113" marR="0" lvl="0" indent="-285750" algn="l" defTabSz="914400" rtl="0" eaLnBrk="1" fontAlgn="ctr" latinLnBrk="0" hangingPunct="1">
                        <a:lnSpc>
                          <a:spcPct val="100000"/>
                        </a:lnSpc>
                        <a:spcBef>
                          <a:spcPct val="0"/>
                        </a:spcBef>
                        <a:spcAft>
                          <a:spcPct val="0"/>
                        </a:spcAft>
                        <a:buClrTx/>
                        <a:buSzTx/>
                        <a:buFont typeface="Wingdings" pitchFamily="2" charset="2"/>
                        <a:buChar char="Ø"/>
                        <a:tabLst/>
                      </a:pPr>
                      <a:r>
                        <a:rPr kumimoji="0" lang="en-US" sz="1100" b="0" i="1" u="none" strike="noStrike" cap="none" normalizeH="0" baseline="0" dirty="0" smtClean="0">
                          <a:ln>
                            <a:noFill/>
                          </a:ln>
                          <a:solidFill>
                            <a:srgbClr val="002060"/>
                          </a:solidFill>
                          <a:effectLst/>
                          <a:latin typeface="Arial" pitchFamily="34" charset="0"/>
                          <a:cs typeface="Arial" pitchFamily="34" charset="0"/>
                        </a:rPr>
                        <a:t>Natural Gas</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1" u="none" strike="noStrike" cap="none" normalizeH="0" baseline="0" dirty="0" smtClean="0">
                          <a:ln>
                            <a:noFill/>
                          </a:ln>
                          <a:solidFill>
                            <a:srgbClr val="002060"/>
                          </a:solidFill>
                          <a:effectLst/>
                          <a:latin typeface="Arial" pitchFamily="34" charset="0"/>
                          <a:cs typeface="Arial" pitchFamily="34" charset="0"/>
                        </a:rPr>
                        <a:t>	2,689</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1623">
                <a:tc>
                  <a:txBody>
                    <a:bodyPr/>
                    <a:lstStyle/>
                    <a:p>
                      <a:pPr marL="361950" marR="0" lvl="0" indent="-180975" algn="l" defTabSz="914400" rtl="0" eaLnBrk="1" fontAlgn="ctr" latinLnBrk="0" hangingPunct="1">
                        <a:lnSpc>
                          <a:spcPct val="100000"/>
                        </a:lnSpc>
                        <a:spcBef>
                          <a:spcPct val="0"/>
                        </a:spcBef>
                        <a:spcAft>
                          <a:spcPct val="0"/>
                        </a:spcAft>
                        <a:buClrTx/>
                        <a:buSzTx/>
                        <a:buFont typeface="Arial" pitchFamily="34" charset="0"/>
                        <a:buChar char="•"/>
                        <a:tabLst/>
                      </a:pPr>
                      <a:r>
                        <a:rPr kumimoji="0" lang="en-US" sz="1100" b="0" i="0" u="none" strike="noStrike" kern="1200" cap="none" normalizeH="0" baseline="0" dirty="0" smtClean="0">
                          <a:ln>
                            <a:noFill/>
                          </a:ln>
                          <a:solidFill>
                            <a:srgbClr val="002060"/>
                          </a:solidFill>
                          <a:effectLst/>
                          <a:latin typeface="Arial" pitchFamily="34" charset="0"/>
                          <a:ea typeface="+mn-ea"/>
                          <a:cs typeface="Arial" pitchFamily="34" charset="0"/>
                        </a:rPr>
                        <a:t>Hydro</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0" u="none" strike="noStrike" cap="none" normalizeH="0" baseline="0" dirty="0" smtClean="0">
                          <a:ln>
                            <a:noFill/>
                          </a:ln>
                          <a:solidFill>
                            <a:srgbClr val="002060"/>
                          </a:solidFill>
                          <a:effectLst/>
                          <a:latin typeface="Arial" pitchFamily="34" charset="0"/>
                          <a:cs typeface="Arial" pitchFamily="34" charset="0"/>
                        </a:rPr>
                        <a:t>	3,171 </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noFill/>
                  </a:tcPr>
                </a:tc>
              </a:tr>
              <a:tr h="421623">
                <a:tc>
                  <a:txBody>
                    <a:bodyPr/>
                    <a:lstStyle/>
                    <a:p>
                      <a:pPr marL="361950" marR="0" lvl="0" indent="-180975" algn="l" defTabSz="914400" rtl="0" eaLnBrk="1" fontAlgn="ctr" latinLnBrk="0" hangingPunct="1">
                        <a:lnSpc>
                          <a:spcPct val="100000"/>
                        </a:lnSpc>
                        <a:spcBef>
                          <a:spcPct val="0"/>
                        </a:spcBef>
                        <a:spcAft>
                          <a:spcPct val="0"/>
                        </a:spcAft>
                        <a:buClrTx/>
                        <a:buSzTx/>
                        <a:buFont typeface="Arial" pitchFamily="34" charset="0"/>
                        <a:buChar char="•"/>
                        <a:tabLst/>
                      </a:pPr>
                      <a:r>
                        <a:rPr kumimoji="0" lang="en-US" sz="1100" b="0" i="0" u="none" strike="noStrike" kern="1200" cap="none" normalizeH="0" baseline="0" smtClean="0">
                          <a:ln>
                            <a:noFill/>
                          </a:ln>
                          <a:solidFill>
                            <a:srgbClr val="002060"/>
                          </a:solidFill>
                          <a:effectLst/>
                          <a:latin typeface="Arial" pitchFamily="34" charset="0"/>
                          <a:ea typeface="+mn-ea"/>
                          <a:cs typeface="Arial" pitchFamily="34" charset="0"/>
                        </a:rPr>
                        <a:t>Renewables</a:t>
                      </a:r>
                      <a:endParaRPr kumimoji="0" lang="en-US" sz="1100" b="0" i="0" u="none" strike="noStrike" kern="1200" cap="none" normalizeH="0" baseline="0" dirty="0" smtClean="0">
                        <a:ln>
                          <a:noFill/>
                        </a:ln>
                        <a:solidFill>
                          <a:srgbClr val="002060"/>
                        </a:solidFill>
                        <a:effectLst/>
                        <a:latin typeface="Arial" pitchFamily="34" charset="0"/>
                        <a:ea typeface="+mn-ea"/>
                        <a:cs typeface="Arial" pitchFamily="34" charset="0"/>
                      </a:endParaRP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0" u="none" strike="noStrike" cap="none" normalizeH="0" baseline="0" dirty="0" smtClean="0">
                          <a:ln>
                            <a:noFill/>
                          </a:ln>
                          <a:solidFill>
                            <a:srgbClr val="002060"/>
                          </a:solidFill>
                          <a:effectLst/>
                          <a:latin typeface="Arial" pitchFamily="34" charset="0"/>
                          <a:cs typeface="Arial" pitchFamily="34" charset="0"/>
                        </a:rPr>
                        <a:t>	68 </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42162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Non-Interconnected Islands</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	1,827 </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1623">
                <a:tc>
                  <a:txBody>
                    <a:bodyPr/>
                    <a:lstStyle/>
                    <a:p>
                      <a:pPr marL="361950" marR="0" lvl="0" indent="-180975" algn="l" defTabSz="914400" rtl="0" eaLnBrk="1" fontAlgn="ctr" latinLnBrk="0" hangingPunct="1">
                        <a:lnSpc>
                          <a:spcPct val="100000"/>
                        </a:lnSpc>
                        <a:spcBef>
                          <a:spcPct val="0"/>
                        </a:spcBef>
                        <a:spcAft>
                          <a:spcPct val="0"/>
                        </a:spcAft>
                        <a:buClrTx/>
                        <a:buSzTx/>
                        <a:buFont typeface="Arial" pitchFamily="34" charset="0"/>
                        <a:buChar char="•"/>
                        <a:tabLst/>
                      </a:pPr>
                      <a:r>
                        <a:rPr kumimoji="0" lang="en-US" sz="1100" b="0" i="0" u="none" strike="noStrike" cap="none" normalizeH="0" baseline="0" dirty="0" smtClean="0">
                          <a:ln>
                            <a:noFill/>
                          </a:ln>
                          <a:solidFill>
                            <a:srgbClr val="002060"/>
                          </a:solidFill>
                          <a:effectLst/>
                          <a:latin typeface="Arial" pitchFamily="34" charset="0"/>
                          <a:cs typeface="Arial" pitchFamily="34" charset="0"/>
                        </a:rPr>
                        <a:t>Oil</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0" u="none" strike="noStrike" cap="none" normalizeH="0" baseline="0" dirty="0" smtClean="0">
                          <a:ln>
                            <a:noFill/>
                          </a:ln>
                          <a:solidFill>
                            <a:srgbClr val="002060"/>
                          </a:solidFill>
                          <a:effectLst/>
                          <a:latin typeface="Arial" pitchFamily="34" charset="0"/>
                          <a:cs typeface="Arial" pitchFamily="34" charset="0"/>
                        </a:rPr>
                        <a:t>	1,769 </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r h="421623">
                <a:tc>
                  <a:txBody>
                    <a:bodyPr/>
                    <a:lstStyle/>
                    <a:p>
                      <a:pPr marL="361950" marR="0" lvl="0" indent="-180975" algn="l" defTabSz="914400" rtl="0" eaLnBrk="1" fontAlgn="ctr" latinLnBrk="0" hangingPunct="1">
                        <a:lnSpc>
                          <a:spcPct val="100000"/>
                        </a:lnSpc>
                        <a:spcBef>
                          <a:spcPct val="0"/>
                        </a:spcBef>
                        <a:spcAft>
                          <a:spcPct val="0"/>
                        </a:spcAft>
                        <a:buClrTx/>
                        <a:buSzTx/>
                        <a:buFont typeface="Arial" pitchFamily="34" charset="0"/>
                        <a:buChar char="•"/>
                        <a:tabLst/>
                      </a:pPr>
                      <a:r>
                        <a:rPr kumimoji="0" lang="en-US" sz="1100" b="0" i="0" u="none" strike="noStrike" kern="1200" cap="none" normalizeH="0" baseline="0" dirty="0" smtClean="0">
                          <a:ln>
                            <a:noFill/>
                          </a:ln>
                          <a:solidFill>
                            <a:srgbClr val="002060"/>
                          </a:solidFill>
                          <a:effectLst/>
                          <a:latin typeface="Arial" pitchFamily="34" charset="0"/>
                          <a:ea typeface="+mn-ea"/>
                          <a:cs typeface="Arial" pitchFamily="34" charset="0"/>
                        </a:rPr>
                        <a:t>Renewables</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0" i="0" u="none" strike="noStrike" cap="none" normalizeH="0" baseline="0" dirty="0" smtClean="0">
                          <a:ln>
                            <a:noFill/>
                          </a:ln>
                          <a:solidFill>
                            <a:srgbClr val="002060"/>
                          </a:solidFill>
                          <a:effectLst/>
                          <a:latin typeface="Arial" pitchFamily="34" charset="0"/>
                          <a:cs typeface="Arial" pitchFamily="34" charset="0"/>
                        </a:rPr>
                        <a:t>	58</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r>
              <a:tr h="50966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chemeClr val="bg1"/>
                          </a:solidFill>
                          <a:effectLst/>
                          <a:latin typeface="Arial" pitchFamily="34" charset="0"/>
                          <a:cs typeface="Arial" pitchFamily="34" charset="0"/>
                        </a:rPr>
                        <a:t>Total Installed Capacity</a:t>
                      </a: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2060"/>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tab pos="1262063" algn="r"/>
                        </a:tabLst>
                      </a:pPr>
                      <a:r>
                        <a:rPr kumimoji="0" lang="en-US" sz="1100" b="1" i="0" u="none" strike="noStrike" cap="none" normalizeH="0" baseline="0" dirty="0" smtClean="0">
                          <a:ln>
                            <a:noFill/>
                          </a:ln>
                          <a:solidFill>
                            <a:srgbClr val="002060"/>
                          </a:solidFill>
                          <a:effectLst/>
                          <a:latin typeface="Arial" pitchFamily="34" charset="0"/>
                          <a:cs typeface="Arial" pitchFamily="34" charset="0"/>
                        </a:rPr>
                        <a:t>	</a:t>
                      </a:r>
                      <a:r>
                        <a:rPr kumimoji="0" lang="en-US" sz="1300" b="1" i="0" u="none" strike="noStrike" cap="none" normalizeH="0" baseline="0" dirty="0" smtClean="0">
                          <a:ln>
                            <a:noFill/>
                          </a:ln>
                          <a:solidFill>
                            <a:schemeClr val="bg1"/>
                          </a:solidFill>
                          <a:effectLst/>
                          <a:latin typeface="Arial" pitchFamily="34" charset="0"/>
                          <a:cs typeface="Arial" pitchFamily="34" charset="0"/>
                        </a:rPr>
                        <a:t>12,092</a:t>
                      </a:r>
                      <a:endParaRPr kumimoji="0" lang="en-US" sz="1300" b="1" i="0" u="none" strike="noStrike" cap="none" normalizeH="0" baseline="0" dirty="0" smtClean="0">
                        <a:ln>
                          <a:noFill/>
                        </a:ln>
                        <a:solidFill>
                          <a:schemeClr val="bg1"/>
                        </a:solidFill>
                        <a:effectLst/>
                        <a:latin typeface="Arial" pitchFamily="34" charset="0"/>
                        <a:cs typeface="Arial" pitchFamily="34" charset="0"/>
                      </a:endParaRPr>
                    </a:p>
                  </a:txBody>
                  <a:tcPr marL="33231" marR="33231" marT="45718" marB="4571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02060"/>
                    </a:solidFill>
                  </a:tcPr>
                </a:tc>
              </a:tr>
            </a:tbl>
          </a:graphicData>
        </a:graphic>
      </p:graphicFrame>
      <p:sp>
        <p:nvSpPr>
          <p:cNvPr id="124" name="Content Placeholder 2"/>
          <p:cNvSpPr>
            <a:spLocks/>
          </p:cNvSpPr>
          <p:nvPr/>
        </p:nvSpPr>
        <p:spPr bwMode="auto">
          <a:xfrm>
            <a:off x="4214895" y="2520552"/>
            <a:ext cx="1362359" cy="1531490"/>
          </a:xfrm>
          <a:prstGeom prst="roundRect">
            <a:avLst>
              <a:gd name="adj" fmla="val 16667"/>
            </a:avLst>
          </a:prstGeom>
          <a:solidFill>
            <a:srgbClr val="D5E2FF"/>
          </a:solidFill>
          <a:ln w="9525">
            <a:noFill/>
            <a:round/>
            <a:headEnd/>
            <a:tailEnd/>
          </a:ln>
        </p:spPr>
        <p:txBody>
          <a:bodyPr lIns="36000" tIns="18000" rIns="0" bIns="18000"/>
          <a:lstStyle/>
          <a:p>
            <a:pPr algn="ctr">
              <a:spcBef>
                <a:spcPts val="300"/>
              </a:spcBef>
            </a:pPr>
            <a:r>
              <a:rPr lang="en-US" sz="1000" dirty="0" smtClean="0">
                <a:solidFill>
                  <a:srgbClr val="002060"/>
                </a:solidFill>
              </a:rPr>
              <a:t>59 </a:t>
            </a:r>
            <a:r>
              <a:rPr lang="en-US" sz="1000" dirty="0">
                <a:solidFill>
                  <a:srgbClr val="002060"/>
                </a:solidFill>
              </a:rPr>
              <a:t>major power plants (excluding </a:t>
            </a:r>
            <a:r>
              <a:rPr lang="en-US" sz="1000" dirty="0" smtClean="0">
                <a:solidFill>
                  <a:srgbClr val="002060"/>
                </a:solidFill>
              </a:rPr>
              <a:t>RES and the units of the Lignite Subsidiaries to be divested), </a:t>
            </a:r>
            <a:r>
              <a:rPr lang="en-US" sz="1000" dirty="0">
                <a:solidFill>
                  <a:srgbClr val="002060"/>
                </a:solidFill>
              </a:rPr>
              <a:t>of which 36 located in the Non-Interconnected Islands</a:t>
            </a:r>
          </a:p>
          <a:p>
            <a:pPr algn="ctr">
              <a:spcBef>
                <a:spcPts val="300"/>
              </a:spcBef>
            </a:pPr>
            <a:endParaRPr lang="en-US" sz="1000" dirty="0">
              <a:solidFill>
                <a:srgbClr val="002060"/>
              </a:solidFill>
            </a:endParaRPr>
          </a:p>
        </p:txBody>
      </p:sp>
      <p:grpSp>
        <p:nvGrpSpPr>
          <p:cNvPr id="125" name="Group 2"/>
          <p:cNvGrpSpPr>
            <a:grpSpLocks/>
          </p:cNvGrpSpPr>
          <p:nvPr/>
        </p:nvGrpSpPr>
        <p:grpSpPr bwMode="auto">
          <a:xfrm>
            <a:off x="456468" y="1434576"/>
            <a:ext cx="4035669" cy="4473575"/>
            <a:chOff x="1760" y="824"/>
            <a:chExt cx="2301" cy="2552"/>
          </a:xfrm>
        </p:grpSpPr>
        <p:sp>
          <p:nvSpPr>
            <p:cNvPr id="126" name="Freeform 3"/>
            <p:cNvSpPr>
              <a:spLocks/>
            </p:cNvSpPr>
            <p:nvPr/>
          </p:nvSpPr>
          <p:spPr bwMode="auto">
            <a:xfrm>
              <a:off x="2891" y="1733"/>
              <a:ext cx="51" cy="51"/>
            </a:xfrm>
            <a:custGeom>
              <a:avLst/>
              <a:gdLst>
                <a:gd name="T0" fmla="*/ 2 w 216"/>
                <a:gd name="T1" fmla="*/ 0 h 212"/>
                <a:gd name="T2" fmla="*/ 2 w 216"/>
                <a:gd name="T3" fmla="*/ 0 h 212"/>
                <a:gd name="T4" fmla="*/ 4 w 216"/>
                <a:gd name="T5" fmla="*/ 4 h 212"/>
                <a:gd name="T6" fmla="*/ 6 w 216"/>
                <a:gd name="T7" fmla="*/ 4 h 212"/>
                <a:gd name="T8" fmla="*/ 9 w 216"/>
                <a:gd name="T9" fmla="*/ 7 h 212"/>
                <a:gd name="T10" fmla="*/ 10 w 216"/>
                <a:gd name="T11" fmla="*/ 7 h 212"/>
                <a:gd name="T12" fmla="*/ 12 w 216"/>
                <a:gd name="T13" fmla="*/ 7 h 212"/>
                <a:gd name="T14" fmla="*/ 12 w 216"/>
                <a:gd name="T15" fmla="*/ 11 h 212"/>
                <a:gd name="T16" fmla="*/ 9 w 216"/>
                <a:gd name="T17" fmla="*/ 12 h 212"/>
                <a:gd name="T18" fmla="*/ 7 w 216"/>
                <a:gd name="T19" fmla="*/ 12 h 212"/>
                <a:gd name="T20" fmla="*/ 4 w 216"/>
                <a:gd name="T21" fmla="*/ 12 h 212"/>
                <a:gd name="T22" fmla="*/ 4 w 216"/>
                <a:gd name="T23" fmla="*/ 10 h 212"/>
                <a:gd name="T24" fmla="*/ 6 w 216"/>
                <a:gd name="T25" fmla="*/ 9 h 212"/>
                <a:gd name="T26" fmla="*/ 3 w 216"/>
                <a:gd name="T27" fmla="*/ 9 h 212"/>
                <a:gd name="T28" fmla="*/ 3 w 216"/>
                <a:gd name="T29" fmla="*/ 7 h 212"/>
                <a:gd name="T30" fmla="*/ 1 w 216"/>
                <a:gd name="T31" fmla="*/ 5 h 212"/>
                <a:gd name="T32" fmla="*/ 0 w 216"/>
                <a:gd name="T33" fmla="*/ 0 h 212"/>
                <a:gd name="T34" fmla="*/ 2 w 216"/>
                <a:gd name="T35" fmla="*/ 0 h 2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
                <a:gd name="T55" fmla="*/ 0 h 212"/>
                <a:gd name="T56" fmla="*/ 216 w 216"/>
                <a:gd name="T57" fmla="*/ 212 h 2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 h="212">
                  <a:moveTo>
                    <a:pt x="29" y="2"/>
                  </a:moveTo>
                  <a:lnTo>
                    <a:pt x="29" y="2"/>
                  </a:lnTo>
                  <a:lnTo>
                    <a:pt x="80" y="63"/>
                  </a:lnTo>
                  <a:lnTo>
                    <a:pt x="108" y="64"/>
                  </a:lnTo>
                  <a:lnTo>
                    <a:pt x="161" y="125"/>
                  </a:lnTo>
                  <a:lnTo>
                    <a:pt x="188" y="125"/>
                  </a:lnTo>
                  <a:lnTo>
                    <a:pt x="216" y="128"/>
                  </a:lnTo>
                  <a:lnTo>
                    <a:pt x="213" y="186"/>
                  </a:lnTo>
                  <a:lnTo>
                    <a:pt x="155" y="212"/>
                  </a:lnTo>
                  <a:lnTo>
                    <a:pt x="128" y="210"/>
                  </a:lnTo>
                  <a:lnTo>
                    <a:pt x="73" y="208"/>
                  </a:lnTo>
                  <a:lnTo>
                    <a:pt x="74" y="179"/>
                  </a:lnTo>
                  <a:lnTo>
                    <a:pt x="103" y="150"/>
                  </a:lnTo>
                  <a:lnTo>
                    <a:pt x="48" y="148"/>
                  </a:lnTo>
                  <a:lnTo>
                    <a:pt x="50" y="119"/>
                  </a:lnTo>
                  <a:lnTo>
                    <a:pt x="23" y="89"/>
                  </a:lnTo>
                  <a:lnTo>
                    <a:pt x="0" y="0"/>
                  </a:lnTo>
                  <a:lnTo>
                    <a:pt x="29" y="2"/>
                  </a:lnTo>
                  <a:close/>
                </a:path>
              </a:pathLst>
            </a:custGeom>
            <a:solidFill>
              <a:srgbClr val="B2C2D1"/>
            </a:solidFill>
            <a:ln w="9525">
              <a:noFill/>
              <a:round/>
              <a:headEnd/>
              <a:tailEnd/>
            </a:ln>
          </p:spPr>
          <p:txBody>
            <a:bodyPr/>
            <a:lstStyle/>
            <a:p>
              <a:endParaRPr lang="el-GR"/>
            </a:p>
          </p:txBody>
        </p:sp>
        <p:sp>
          <p:nvSpPr>
            <p:cNvPr id="127" name="Freeform 4"/>
            <p:cNvSpPr>
              <a:spLocks/>
            </p:cNvSpPr>
            <p:nvPr/>
          </p:nvSpPr>
          <p:spPr bwMode="auto">
            <a:xfrm>
              <a:off x="2891" y="1733"/>
              <a:ext cx="51" cy="51"/>
            </a:xfrm>
            <a:custGeom>
              <a:avLst/>
              <a:gdLst>
                <a:gd name="T0" fmla="*/ 2 w 216"/>
                <a:gd name="T1" fmla="*/ 0 h 212"/>
                <a:gd name="T2" fmla="*/ 2 w 216"/>
                <a:gd name="T3" fmla="*/ 0 h 212"/>
                <a:gd name="T4" fmla="*/ 4 w 216"/>
                <a:gd name="T5" fmla="*/ 4 h 212"/>
                <a:gd name="T6" fmla="*/ 6 w 216"/>
                <a:gd name="T7" fmla="*/ 4 h 212"/>
                <a:gd name="T8" fmla="*/ 9 w 216"/>
                <a:gd name="T9" fmla="*/ 7 h 212"/>
                <a:gd name="T10" fmla="*/ 10 w 216"/>
                <a:gd name="T11" fmla="*/ 7 h 212"/>
                <a:gd name="T12" fmla="*/ 12 w 216"/>
                <a:gd name="T13" fmla="*/ 7 h 212"/>
                <a:gd name="T14" fmla="*/ 12 w 216"/>
                <a:gd name="T15" fmla="*/ 11 h 212"/>
                <a:gd name="T16" fmla="*/ 9 w 216"/>
                <a:gd name="T17" fmla="*/ 12 h 212"/>
                <a:gd name="T18" fmla="*/ 7 w 216"/>
                <a:gd name="T19" fmla="*/ 12 h 212"/>
                <a:gd name="T20" fmla="*/ 4 w 216"/>
                <a:gd name="T21" fmla="*/ 12 h 212"/>
                <a:gd name="T22" fmla="*/ 4 w 216"/>
                <a:gd name="T23" fmla="*/ 10 h 212"/>
                <a:gd name="T24" fmla="*/ 6 w 216"/>
                <a:gd name="T25" fmla="*/ 9 h 212"/>
                <a:gd name="T26" fmla="*/ 3 w 216"/>
                <a:gd name="T27" fmla="*/ 9 h 212"/>
                <a:gd name="T28" fmla="*/ 3 w 216"/>
                <a:gd name="T29" fmla="*/ 7 h 212"/>
                <a:gd name="T30" fmla="*/ 1 w 216"/>
                <a:gd name="T31" fmla="*/ 5 h 212"/>
                <a:gd name="T32" fmla="*/ 0 w 216"/>
                <a:gd name="T33" fmla="*/ 0 h 212"/>
                <a:gd name="T34" fmla="*/ 2 w 216"/>
                <a:gd name="T35" fmla="*/ 0 h 2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
                <a:gd name="T55" fmla="*/ 0 h 212"/>
                <a:gd name="T56" fmla="*/ 216 w 216"/>
                <a:gd name="T57" fmla="*/ 212 h 2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 h="212">
                  <a:moveTo>
                    <a:pt x="29" y="2"/>
                  </a:moveTo>
                  <a:lnTo>
                    <a:pt x="29" y="2"/>
                  </a:lnTo>
                  <a:lnTo>
                    <a:pt x="80" y="63"/>
                  </a:lnTo>
                  <a:lnTo>
                    <a:pt x="108" y="64"/>
                  </a:lnTo>
                  <a:lnTo>
                    <a:pt x="161" y="125"/>
                  </a:lnTo>
                  <a:lnTo>
                    <a:pt x="188" y="125"/>
                  </a:lnTo>
                  <a:lnTo>
                    <a:pt x="216" y="128"/>
                  </a:lnTo>
                  <a:lnTo>
                    <a:pt x="213" y="186"/>
                  </a:lnTo>
                  <a:lnTo>
                    <a:pt x="155" y="212"/>
                  </a:lnTo>
                  <a:lnTo>
                    <a:pt x="128" y="210"/>
                  </a:lnTo>
                  <a:lnTo>
                    <a:pt x="73" y="208"/>
                  </a:lnTo>
                  <a:lnTo>
                    <a:pt x="74" y="179"/>
                  </a:lnTo>
                  <a:lnTo>
                    <a:pt x="103" y="150"/>
                  </a:lnTo>
                  <a:lnTo>
                    <a:pt x="48" y="148"/>
                  </a:lnTo>
                  <a:lnTo>
                    <a:pt x="50" y="119"/>
                  </a:lnTo>
                  <a:lnTo>
                    <a:pt x="23" y="89"/>
                  </a:lnTo>
                  <a:lnTo>
                    <a:pt x="0" y="0"/>
                  </a:lnTo>
                  <a:lnTo>
                    <a:pt x="29" y="2"/>
                  </a:lnTo>
                </a:path>
              </a:pathLst>
            </a:custGeom>
            <a:solidFill>
              <a:srgbClr val="B2C2D1"/>
            </a:solidFill>
            <a:ln w="9525">
              <a:noFill/>
              <a:round/>
              <a:headEnd/>
              <a:tailEnd/>
            </a:ln>
          </p:spPr>
          <p:txBody>
            <a:bodyPr/>
            <a:lstStyle/>
            <a:p>
              <a:endParaRPr lang="el-GR"/>
            </a:p>
          </p:txBody>
        </p:sp>
        <p:sp>
          <p:nvSpPr>
            <p:cNvPr id="128" name="Freeform 5"/>
            <p:cNvSpPr>
              <a:spLocks/>
            </p:cNvSpPr>
            <p:nvPr/>
          </p:nvSpPr>
          <p:spPr bwMode="auto">
            <a:xfrm>
              <a:off x="2957" y="1711"/>
              <a:ext cx="48" cy="54"/>
            </a:xfrm>
            <a:custGeom>
              <a:avLst/>
              <a:gdLst>
                <a:gd name="T0" fmla="*/ 3 w 205"/>
                <a:gd name="T1" fmla="*/ 6 h 226"/>
                <a:gd name="T2" fmla="*/ 5 w 205"/>
                <a:gd name="T3" fmla="*/ 5 h 226"/>
                <a:gd name="T4" fmla="*/ 7 w 205"/>
                <a:gd name="T5" fmla="*/ 1 h 226"/>
                <a:gd name="T6" fmla="*/ 8 w 205"/>
                <a:gd name="T7" fmla="*/ 0 h 226"/>
                <a:gd name="T8" fmla="*/ 8 w 205"/>
                <a:gd name="T9" fmla="*/ 2 h 226"/>
                <a:gd name="T10" fmla="*/ 11 w 205"/>
                <a:gd name="T11" fmla="*/ 2 h 226"/>
                <a:gd name="T12" fmla="*/ 6 w 205"/>
                <a:gd name="T13" fmla="*/ 6 h 226"/>
                <a:gd name="T14" fmla="*/ 6 w 205"/>
                <a:gd name="T15" fmla="*/ 10 h 226"/>
                <a:gd name="T16" fmla="*/ 5 w 205"/>
                <a:gd name="T17" fmla="*/ 10 h 226"/>
                <a:gd name="T18" fmla="*/ 3 w 205"/>
                <a:gd name="T19" fmla="*/ 11 h 226"/>
                <a:gd name="T20" fmla="*/ 1 w 205"/>
                <a:gd name="T21" fmla="*/ 13 h 226"/>
                <a:gd name="T22" fmla="*/ 0 w 205"/>
                <a:gd name="T23" fmla="*/ 11 h 226"/>
                <a:gd name="T24" fmla="*/ 3 w 205"/>
                <a:gd name="T25" fmla="*/ 10 h 226"/>
                <a:gd name="T26" fmla="*/ 3 w 205"/>
                <a:gd name="T27" fmla="*/ 6 h 2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5"/>
                <a:gd name="T43" fmla="*/ 0 h 226"/>
                <a:gd name="T44" fmla="*/ 205 w 205"/>
                <a:gd name="T45" fmla="*/ 226 h 2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5" h="226">
                  <a:moveTo>
                    <a:pt x="60" y="111"/>
                  </a:moveTo>
                  <a:lnTo>
                    <a:pt x="90" y="84"/>
                  </a:lnTo>
                  <a:lnTo>
                    <a:pt x="121" y="27"/>
                  </a:lnTo>
                  <a:lnTo>
                    <a:pt x="150" y="0"/>
                  </a:lnTo>
                  <a:lnTo>
                    <a:pt x="149" y="29"/>
                  </a:lnTo>
                  <a:lnTo>
                    <a:pt x="205" y="31"/>
                  </a:lnTo>
                  <a:lnTo>
                    <a:pt x="117" y="114"/>
                  </a:lnTo>
                  <a:lnTo>
                    <a:pt x="113" y="172"/>
                  </a:lnTo>
                  <a:lnTo>
                    <a:pt x="85" y="171"/>
                  </a:lnTo>
                  <a:lnTo>
                    <a:pt x="56" y="198"/>
                  </a:lnTo>
                  <a:lnTo>
                    <a:pt x="27" y="226"/>
                  </a:lnTo>
                  <a:lnTo>
                    <a:pt x="0" y="196"/>
                  </a:lnTo>
                  <a:lnTo>
                    <a:pt x="57" y="170"/>
                  </a:lnTo>
                  <a:lnTo>
                    <a:pt x="60" y="111"/>
                  </a:lnTo>
                  <a:close/>
                </a:path>
              </a:pathLst>
            </a:custGeom>
            <a:solidFill>
              <a:srgbClr val="B2C2D1"/>
            </a:solidFill>
            <a:ln w="9525">
              <a:noFill/>
              <a:round/>
              <a:headEnd/>
              <a:tailEnd/>
            </a:ln>
          </p:spPr>
          <p:txBody>
            <a:bodyPr/>
            <a:lstStyle/>
            <a:p>
              <a:endParaRPr lang="el-GR"/>
            </a:p>
          </p:txBody>
        </p:sp>
        <p:sp>
          <p:nvSpPr>
            <p:cNvPr id="129" name="Freeform 6"/>
            <p:cNvSpPr>
              <a:spLocks/>
            </p:cNvSpPr>
            <p:nvPr/>
          </p:nvSpPr>
          <p:spPr bwMode="auto">
            <a:xfrm>
              <a:off x="2957" y="1711"/>
              <a:ext cx="48" cy="54"/>
            </a:xfrm>
            <a:custGeom>
              <a:avLst/>
              <a:gdLst>
                <a:gd name="T0" fmla="*/ 3 w 205"/>
                <a:gd name="T1" fmla="*/ 6 h 226"/>
                <a:gd name="T2" fmla="*/ 5 w 205"/>
                <a:gd name="T3" fmla="*/ 5 h 226"/>
                <a:gd name="T4" fmla="*/ 7 w 205"/>
                <a:gd name="T5" fmla="*/ 1 h 226"/>
                <a:gd name="T6" fmla="*/ 8 w 205"/>
                <a:gd name="T7" fmla="*/ 0 h 226"/>
                <a:gd name="T8" fmla="*/ 8 w 205"/>
                <a:gd name="T9" fmla="*/ 2 h 226"/>
                <a:gd name="T10" fmla="*/ 11 w 205"/>
                <a:gd name="T11" fmla="*/ 2 h 226"/>
                <a:gd name="T12" fmla="*/ 6 w 205"/>
                <a:gd name="T13" fmla="*/ 6 h 226"/>
                <a:gd name="T14" fmla="*/ 6 w 205"/>
                <a:gd name="T15" fmla="*/ 10 h 226"/>
                <a:gd name="T16" fmla="*/ 5 w 205"/>
                <a:gd name="T17" fmla="*/ 10 h 226"/>
                <a:gd name="T18" fmla="*/ 3 w 205"/>
                <a:gd name="T19" fmla="*/ 11 h 226"/>
                <a:gd name="T20" fmla="*/ 1 w 205"/>
                <a:gd name="T21" fmla="*/ 13 h 226"/>
                <a:gd name="T22" fmla="*/ 0 w 205"/>
                <a:gd name="T23" fmla="*/ 11 h 226"/>
                <a:gd name="T24" fmla="*/ 3 w 205"/>
                <a:gd name="T25" fmla="*/ 10 h 226"/>
                <a:gd name="T26" fmla="*/ 3 w 205"/>
                <a:gd name="T27" fmla="*/ 6 h 2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5"/>
                <a:gd name="T43" fmla="*/ 0 h 226"/>
                <a:gd name="T44" fmla="*/ 205 w 205"/>
                <a:gd name="T45" fmla="*/ 226 h 2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5" h="226">
                  <a:moveTo>
                    <a:pt x="60" y="111"/>
                  </a:moveTo>
                  <a:lnTo>
                    <a:pt x="90" y="84"/>
                  </a:lnTo>
                  <a:lnTo>
                    <a:pt x="121" y="27"/>
                  </a:lnTo>
                  <a:lnTo>
                    <a:pt x="150" y="0"/>
                  </a:lnTo>
                  <a:lnTo>
                    <a:pt x="149" y="29"/>
                  </a:lnTo>
                  <a:lnTo>
                    <a:pt x="205" y="31"/>
                  </a:lnTo>
                  <a:lnTo>
                    <a:pt x="117" y="114"/>
                  </a:lnTo>
                  <a:lnTo>
                    <a:pt x="113" y="172"/>
                  </a:lnTo>
                  <a:lnTo>
                    <a:pt x="85" y="171"/>
                  </a:lnTo>
                  <a:lnTo>
                    <a:pt x="56" y="198"/>
                  </a:lnTo>
                  <a:lnTo>
                    <a:pt x="27" y="226"/>
                  </a:lnTo>
                  <a:lnTo>
                    <a:pt x="0" y="196"/>
                  </a:lnTo>
                  <a:lnTo>
                    <a:pt x="57" y="170"/>
                  </a:lnTo>
                  <a:lnTo>
                    <a:pt x="60" y="111"/>
                  </a:lnTo>
                </a:path>
              </a:pathLst>
            </a:custGeom>
            <a:solidFill>
              <a:srgbClr val="B2C2D1"/>
            </a:solidFill>
            <a:ln w="9525">
              <a:noFill/>
              <a:round/>
              <a:headEnd/>
              <a:tailEnd/>
            </a:ln>
          </p:spPr>
          <p:txBody>
            <a:bodyPr/>
            <a:lstStyle/>
            <a:p>
              <a:endParaRPr lang="el-GR"/>
            </a:p>
          </p:txBody>
        </p:sp>
        <p:sp>
          <p:nvSpPr>
            <p:cNvPr id="130" name="Freeform 7"/>
            <p:cNvSpPr>
              <a:spLocks/>
            </p:cNvSpPr>
            <p:nvPr/>
          </p:nvSpPr>
          <p:spPr bwMode="auto">
            <a:xfrm>
              <a:off x="2829" y="1731"/>
              <a:ext cx="35" cy="35"/>
            </a:xfrm>
            <a:custGeom>
              <a:avLst/>
              <a:gdLst>
                <a:gd name="T0" fmla="*/ 3 w 145"/>
                <a:gd name="T1" fmla="*/ 7 h 145"/>
                <a:gd name="T2" fmla="*/ 5 w 145"/>
                <a:gd name="T3" fmla="*/ 8 h 145"/>
                <a:gd name="T4" fmla="*/ 5 w 145"/>
                <a:gd name="T5" fmla="*/ 5 h 145"/>
                <a:gd name="T6" fmla="*/ 7 w 145"/>
                <a:gd name="T7" fmla="*/ 5 h 145"/>
                <a:gd name="T8" fmla="*/ 8 w 145"/>
                <a:gd name="T9" fmla="*/ 5 h 145"/>
                <a:gd name="T10" fmla="*/ 8 w 145"/>
                <a:gd name="T11" fmla="*/ 4 h 145"/>
                <a:gd name="T12" fmla="*/ 8 w 145"/>
                <a:gd name="T13" fmla="*/ 2 h 145"/>
                <a:gd name="T14" fmla="*/ 7 w 145"/>
                <a:gd name="T15" fmla="*/ 2 h 145"/>
                <a:gd name="T16" fmla="*/ 5 w 145"/>
                <a:gd name="T17" fmla="*/ 0 h 145"/>
                <a:gd name="T18" fmla="*/ 3 w 145"/>
                <a:gd name="T19" fmla="*/ 2 h 145"/>
                <a:gd name="T20" fmla="*/ 3 w 145"/>
                <a:gd name="T21" fmla="*/ 3 h 145"/>
                <a:gd name="T22" fmla="*/ 0 w 145"/>
                <a:gd name="T23" fmla="*/ 5 h 145"/>
                <a:gd name="T24" fmla="*/ 2 w 145"/>
                <a:gd name="T25" fmla="*/ 5 h 145"/>
                <a:gd name="T26" fmla="*/ 2 w 145"/>
                <a:gd name="T27" fmla="*/ 7 h 145"/>
                <a:gd name="T28" fmla="*/ 3 w 145"/>
                <a:gd name="T29" fmla="*/ 7 h 1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5"/>
                <a:gd name="T46" fmla="*/ 0 h 145"/>
                <a:gd name="T47" fmla="*/ 145 w 145"/>
                <a:gd name="T48" fmla="*/ 145 h 1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5" h="145">
                  <a:moveTo>
                    <a:pt x="55" y="115"/>
                  </a:moveTo>
                  <a:lnTo>
                    <a:pt x="82" y="145"/>
                  </a:lnTo>
                  <a:lnTo>
                    <a:pt x="84" y="87"/>
                  </a:lnTo>
                  <a:lnTo>
                    <a:pt x="112" y="89"/>
                  </a:lnTo>
                  <a:lnTo>
                    <a:pt x="142" y="90"/>
                  </a:lnTo>
                  <a:lnTo>
                    <a:pt x="143" y="61"/>
                  </a:lnTo>
                  <a:lnTo>
                    <a:pt x="145" y="32"/>
                  </a:lnTo>
                  <a:lnTo>
                    <a:pt x="117" y="30"/>
                  </a:lnTo>
                  <a:lnTo>
                    <a:pt x="90" y="0"/>
                  </a:lnTo>
                  <a:lnTo>
                    <a:pt x="59" y="27"/>
                  </a:lnTo>
                  <a:lnTo>
                    <a:pt x="57" y="56"/>
                  </a:lnTo>
                  <a:lnTo>
                    <a:pt x="0" y="82"/>
                  </a:lnTo>
                  <a:lnTo>
                    <a:pt x="28" y="85"/>
                  </a:lnTo>
                  <a:lnTo>
                    <a:pt x="27" y="113"/>
                  </a:lnTo>
                  <a:lnTo>
                    <a:pt x="55" y="115"/>
                  </a:lnTo>
                  <a:close/>
                </a:path>
              </a:pathLst>
            </a:custGeom>
            <a:solidFill>
              <a:srgbClr val="B2C2D1"/>
            </a:solidFill>
            <a:ln w="9525">
              <a:noFill/>
              <a:round/>
              <a:headEnd/>
              <a:tailEnd/>
            </a:ln>
          </p:spPr>
          <p:txBody>
            <a:bodyPr/>
            <a:lstStyle/>
            <a:p>
              <a:endParaRPr lang="el-GR"/>
            </a:p>
          </p:txBody>
        </p:sp>
        <p:sp>
          <p:nvSpPr>
            <p:cNvPr id="131" name="Freeform 8"/>
            <p:cNvSpPr>
              <a:spLocks/>
            </p:cNvSpPr>
            <p:nvPr/>
          </p:nvSpPr>
          <p:spPr bwMode="auto">
            <a:xfrm>
              <a:off x="2829" y="1731"/>
              <a:ext cx="35" cy="35"/>
            </a:xfrm>
            <a:custGeom>
              <a:avLst/>
              <a:gdLst>
                <a:gd name="T0" fmla="*/ 3 w 145"/>
                <a:gd name="T1" fmla="*/ 7 h 145"/>
                <a:gd name="T2" fmla="*/ 5 w 145"/>
                <a:gd name="T3" fmla="*/ 8 h 145"/>
                <a:gd name="T4" fmla="*/ 5 w 145"/>
                <a:gd name="T5" fmla="*/ 5 h 145"/>
                <a:gd name="T6" fmla="*/ 7 w 145"/>
                <a:gd name="T7" fmla="*/ 5 h 145"/>
                <a:gd name="T8" fmla="*/ 8 w 145"/>
                <a:gd name="T9" fmla="*/ 5 h 145"/>
                <a:gd name="T10" fmla="*/ 8 w 145"/>
                <a:gd name="T11" fmla="*/ 4 h 145"/>
                <a:gd name="T12" fmla="*/ 8 w 145"/>
                <a:gd name="T13" fmla="*/ 2 h 145"/>
                <a:gd name="T14" fmla="*/ 7 w 145"/>
                <a:gd name="T15" fmla="*/ 2 h 145"/>
                <a:gd name="T16" fmla="*/ 5 w 145"/>
                <a:gd name="T17" fmla="*/ 0 h 145"/>
                <a:gd name="T18" fmla="*/ 3 w 145"/>
                <a:gd name="T19" fmla="*/ 2 h 145"/>
                <a:gd name="T20" fmla="*/ 3 w 145"/>
                <a:gd name="T21" fmla="*/ 3 h 145"/>
                <a:gd name="T22" fmla="*/ 0 w 145"/>
                <a:gd name="T23" fmla="*/ 5 h 145"/>
                <a:gd name="T24" fmla="*/ 2 w 145"/>
                <a:gd name="T25" fmla="*/ 5 h 145"/>
                <a:gd name="T26" fmla="*/ 2 w 145"/>
                <a:gd name="T27" fmla="*/ 7 h 145"/>
                <a:gd name="T28" fmla="*/ 3 w 145"/>
                <a:gd name="T29" fmla="*/ 7 h 1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5"/>
                <a:gd name="T46" fmla="*/ 0 h 145"/>
                <a:gd name="T47" fmla="*/ 145 w 145"/>
                <a:gd name="T48" fmla="*/ 145 h 1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5" h="145">
                  <a:moveTo>
                    <a:pt x="55" y="115"/>
                  </a:moveTo>
                  <a:lnTo>
                    <a:pt x="82" y="145"/>
                  </a:lnTo>
                  <a:lnTo>
                    <a:pt x="84" y="87"/>
                  </a:lnTo>
                  <a:lnTo>
                    <a:pt x="112" y="89"/>
                  </a:lnTo>
                  <a:lnTo>
                    <a:pt x="142" y="90"/>
                  </a:lnTo>
                  <a:lnTo>
                    <a:pt x="143" y="61"/>
                  </a:lnTo>
                  <a:lnTo>
                    <a:pt x="145" y="32"/>
                  </a:lnTo>
                  <a:lnTo>
                    <a:pt x="117" y="30"/>
                  </a:lnTo>
                  <a:lnTo>
                    <a:pt x="90" y="0"/>
                  </a:lnTo>
                  <a:lnTo>
                    <a:pt x="59" y="27"/>
                  </a:lnTo>
                  <a:lnTo>
                    <a:pt x="57" y="56"/>
                  </a:lnTo>
                  <a:lnTo>
                    <a:pt x="0" y="82"/>
                  </a:lnTo>
                  <a:lnTo>
                    <a:pt x="28" y="85"/>
                  </a:lnTo>
                  <a:lnTo>
                    <a:pt x="27" y="113"/>
                  </a:lnTo>
                  <a:lnTo>
                    <a:pt x="55" y="115"/>
                  </a:lnTo>
                </a:path>
              </a:pathLst>
            </a:custGeom>
            <a:solidFill>
              <a:srgbClr val="B2C2D1"/>
            </a:solidFill>
            <a:ln w="9525">
              <a:noFill/>
              <a:round/>
              <a:headEnd/>
              <a:tailEnd/>
            </a:ln>
          </p:spPr>
          <p:txBody>
            <a:bodyPr/>
            <a:lstStyle/>
            <a:p>
              <a:endParaRPr lang="el-GR"/>
            </a:p>
          </p:txBody>
        </p:sp>
        <p:sp>
          <p:nvSpPr>
            <p:cNvPr id="132" name="Freeform 9"/>
            <p:cNvSpPr>
              <a:spLocks/>
            </p:cNvSpPr>
            <p:nvPr/>
          </p:nvSpPr>
          <p:spPr bwMode="auto">
            <a:xfrm>
              <a:off x="3025" y="1678"/>
              <a:ext cx="14" cy="28"/>
            </a:xfrm>
            <a:custGeom>
              <a:avLst/>
              <a:gdLst>
                <a:gd name="T0" fmla="*/ 0 w 57"/>
                <a:gd name="T1" fmla="*/ 7 h 117"/>
                <a:gd name="T2" fmla="*/ 2 w 57"/>
                <a:gd name="T3" fmla="*/ 7 h 117"/>
                <a:gd name="T4" fmla="*/ 3 w 57"/>
                <a:gd name="T5" fmla="*/ 3 h 117"/>
                <a:gd name="T6" fmla="*/ 2 w 57"/>
                <a:gd name="T7" fmla="*/ 2 h 117"/>
                <a:gd name="T8" fmla="*/ 2 w 57"/>
                <a:gd name="T9" fmla="*/ 3 h 117"/>
                <a:gd name="T10" fmla="*/ 2 w 57"/>
                <a:gd name="T11" fmla="*/ 0 h 117"/>
                <a:gd name="T12" fmla="*/ 0 w 57"/>
                <a:gd name="T13" fmla="*/ 2 h 117"/>
                <a:gd name="T14" fmla="*/ 0 w 57"/>
                <a:gd name="T15" fmla="*/ 3 h 117"/>
                <a:gd name="T16" fmla="*/ 0 w 57"/>
                <a:gd name="T17" fmla="*/ 5 h 117"/>
                <a:gd name="T18" fmla="*/ 0 w 57"/>
                <a:gd name="T19" fmla="*/ 7 h 1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117"/>
                <a:gd name="T32" fmla="*/ 57 w 57"/>
                <a:gd name="T33" fmla="*/ 117 h 1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117">
                  <a:moveTo>
                    <a:pt x="0" y="115"/>
                  </a:moveTo>
                  <a:lnTo>
                    <a:pt x="27" y="117"/>
                  </a:lnTo>
                  <a:lnTo>
                    <a:pt x="57" y="60"/>
                  </a:lnTo>
                  <a:lnTo>
                    <a:pt x="31" y="30"/>
                  </a:lnTo>
                  <a:lnTo>
                    <a:pt x="30" y="59"/>
                  </a:lnTo>
                  <a:lnTo>
                    <a:pt x="33" y="0"/>
                  </a:lnTo>
                  <a:lnTo>
                    <a:pt x="4" y="29"/>
                  </a:lnTo>
                  <a:lnTo>
                    <a:pt x="3" y="57"/>
                  </a:lnTo>
                  <a:lnTo>
                    <a:pt x="1" y="87"/>
                  </a:lnTo>
                  <a:lnTo>
                    <a:pt x="0" y="115"/>
                  </a:lnTo>
                  <a:close/>
                </a:path>
              </a:pathLst>
            </a:custGeom>
            <a:solidFill>
              <a:srgbClr val="B2C2D1"/>
            </a:solidFill>
            <a:ln w="9525">
              <a:noFill/>
              <a:round/>
              <a:headEnd/>
              <a:tailEnd/>
            </a:ln>
          </p:spPr>
          <p:txBody>
            <a:bodyPr/>
            <a:lstStyle/>
            <a:p>
              <a:endParaRPr lang="el-GR"/>
            </a:p>
          </p:txBody>
        </p:sp>
        <p:sp>
          <p:nvSpPr>
            <p:cNvPr id="133" name="Freeform 10"/>
            <p:cNvSpPr>
              <a:spLocks/>
            </p:cNvSpPr>
            <p:nvPr/>
          </p:nvSpPr>
          <p:spPr bwMode="auto">
            <a:xfrm>
              <a:off x="3025" y="1678"/>
              <a:ext cx="14" cy="28"/>
            </a:xfrm>
            <a:custGeom>
              <a:avLst/>
              <a:gdLst>
                <a:gd name="T0" fmla="*/ 0 w 57"/>
                <a:gd name="T1" fmla="*/ 7 h 117"/>
                <a:gd name="T2" fmla="*/ 2 w 57"/>
                <a:gd name="T3" fmla="*/ 7 h 117"/>
                <a:gd name="T4" fmla="*/ 3 w 57"/>
                <a:gd name="T5" fmla="*/ 3 h 117"/>
                <a:gd name="T6" fmla="*/ 2 w 57"/>
                <a:gd name="T7" fmla="*/ 2 h 117"/>
                <a:gd name="T8" fmla="*/ 2 w 57"/>
                <a:gd name="T9" fmla="*/ 3 h 117"/>
                <a:gd name="T10" fmla="*/ 2 w 57"/>
                <a:gd name="T11" fmla="*/ 0 h 117"/>
                <a:gd name="T12" fmla="*/ 0 w 57"/>
                <a:gd name="T13" fmla="*/ 2 h 117"/>
                <a:gd name="T14" fmla="*/ 0 w 57"/>
                <a:gd name="T15" fmla="*/ 3 h 117"/>
                <a:gd name="T16" fmla="*/ 0 w 57"/>
                <a:gd name="T17" fmla="*/ 5 h 117"/>
                <a:gd name="T18" fmla="*/ 0 w 57"/>
                <a:gd name="T19" fmla="*/ 7 h 1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117"/>
                <a:gd name="T32" fmla="*/ 57 w 57"/>
                <a:gd name="T33" fmla="*/ 117 h 1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117">
                  <a:moveTo>
                    <a:pt x="0" y="115"/>
                  </a:moveTo>
                  <a:lnTo>
                    <a:pt x="27" y="117"/>
                  </a:lnTo>
                  <a:lnTo>
                    <a:pt x="57" y="60"/>
                  </a:lnTo>
                  <a:lnTo>
                    <a:pt x="31" y="30"/>
                  </a:lnTo>
                  <a:lnTo>
                    <a:pt x="30" y="59"/>
                  </a:lnTo>
                  <a:lnTo>
                    <a:pt x="33" y="0"/>
                  </a:lnTo>
                  <a:lnTo>
                    <a:pt x="4" y="29"/>
                  </a:lnTo>
                  <a:lnTo>
                    <a:pt x="3" y="57"/>
                  </a:lnTo>
                  <a:lnTo>
                    <a:pt x="1" y="87"/>
                  </a:lnTo>
                  <a:lnTo>
                    <a:pt x="0" y="115"/>
                  </a:lnTo>
                </a:path>
              </a:pathLst>
            </a:custGeom>
            <a:solidFill>
              <a:srgbClr val="B2C2D1"/>
            </a:solidFill>
            <a:ln w="9525">
              <a:noFill/>
              <a:round/>
              <a:headEnd/>
              <a:tailEnd/>
            </a:ln>
          </p:spPr>
          <p:txBody>
            <a:bodyPr/>
            <a:lstStyle/>
            <a:p>
              <a:endParaRPr lang="el-GR"/>
            </a:p>
          </p:txBody>
        </p:sp>
        <p:sp>
          <p:nvSpPr>
            <p:cNvPr id="134" name="Freeform 11"/>
            <p:cNvSpPr>
              <a:spLocks/>
            </p:cNvSpPr>
            <p:nvPr/>
          </p:nvSpPr>
          <p:spPr bwMode="auto">
            <a:xfrm>
              <a:off x="3054" y="1658"/>
              <a:ext cx="13" cy="29"/>
            </a:xfrm>
            <a:custGeom>
              <a:avLst/>
              <a:gdLst>
                <a:gd name="T0" fmla="*/ 0 w 55"/>
                <a:gd name="T1" fmla="*/ 5 h 120"/>
                <a:gd name="T2" fmla="*/ 2 w 55"/>
                <a:gd name="T3" fmla="*/ 2 h 120"/>
                <a:gd name="T4" fmla="*/ 2 w 55"/>
                <a:gd name="T5" fmla="*/ 0 h 120"/>
                <a:gd name="T6" fmla="*/ 3 w 55"/>
                <a:gd name="T7" fmla="*/ 4 h 120"/>
                <a:gd name="T8" fmla="*/ 1 w 55"/>
                <a:gd name="T9" fmla="*/ 7 h 120"/>
                <a:gd name="T10" fmla="*/ 0 w 55"/>
                <a:gd name="T11" fmla="*/ 5 h 120"/>
                <a:gd name="T12" fmla="*/ 0 60000 65536"/>
                <a:gd name="T13" fmla="*/ 0 60000 65536"/>
                <a:gd name="T14" fmla="*/ 0 60000 65536"/>
                <a:gd name="T15" fmla="*/ 0 60000 65536"/>
                <a:gd name="T16" fmla="*/ 0 60000 65536"/>
                <a:gd name="T17" fmla="*/ 0 60000 65536"/>
                <a:gd name="T18" fmla="*/ 0 w 55"/>
                <a:gd name="T19" fmla="*/ 0 h 120"/>
                <a:gd name="T20" fmla="*/ 55 w 55"/>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55" h="120">
                  <a:moveTo>
                    <a:pt x="0" y="89"/>
                  </a:moveTo>
                  <a:lnTo>
                    <a:pt x="29" y="30"/>
                  </a:lnTo>
                  <a:lnTo>
                    <a:pt x="31" y="0"/>
                  </a:lnTo>
                  <a:lnTo>
                    <a:pt x="55" y="61"/>
                  </a:lnTo>
                  <a:lnTo>
                    <a:pt x="25" y="120"/>
                  </a:lnTo>
                  <a:lnTo>
                    <a:pt x="0" y="89"/>
                  </a:lnTo>
                  <a:close/>
                </a:path>
              </a:pathLst>
            </a:custGeom>
            <a:solidFill>
              <a:srgbClr val="B2C2D1"/>
            </a:solidFill>
            <a:ln w="9525">
              <a:noFill/>
              <a:round/>
              <a:headEnd/>
              <a:tailEnd/>
            </a:ln>
          </p:spPr>
          <p:txBody>
            <a:bodyPr/>
            <a:lstStyle/>
            <a:p>
              <a:endParaRPr lang="el-GR"/>
            </a:p>
          </p:txBody>
        </p:sp>
        <p:sp>
          <p:nvSpPr>
            <p:cNvPr id="135" name="Freeform 12"/>
            <p:cNvSpPr>
              <a:spLocks/>
            </p:cNvSpPr>
            <p:nvPr/>
          </p:nvSpPr>
          <p:spPr bwMode="auto">
            <a:xfrm>
              <a:off x="3054" y="1658"/>
              <a:ext cx="13" cy="29"/>
            </a:xfrm>
            <a:custGeom>
              <a:avLst/>
              <a:gdLst>
                <a:gd name="T0" fmla="*/ 0 w 55"/>
                <a:gd name="T1" fmla="*/ 5 h 120"/>
                <a:gd name="T2" fmla="*/ 2 w 55"/>
                <a:gd name="T3" fmla="*/ 2 h 120"/>
                <a:gd name="T4" fmla="*/ 2 w 55"/>
                <a:gd name="T5" fmla="*/ 0 h 120"/>
                <a:gd name="T6" fmla="*/ 3 w 55"/>
                <a:gd name="T7" fmla="*/ 4 h 120"/>
                <a:gd name="T8" fmla="*/ 1 w 55"/>
                <a:gd name="T9" fmla="*/ 7 h 120"/>
                <a:gd name="T10" fmla="*/ 0 w 55"/>
                <a:gd name="T11" fmla="*/ 5 h 120"/>
                <a:gd name="T12" fmla="*/ 0 60000 65536"/>
                <a:gd name="T13" fmla="*/ 0 60000 65536"/>
                <a:gd name="T14" fmla="*/ 0 60000 65536"/>
                <a:gd name="T15" fmla="*/ 0 60000 65536"/>
                <a:gd name="T16" fmla="*/ 0 60000 65536"/>
                <a:gd name="T17" fmla="*/ 0 60000 65536"/>
                <a:gd name="T18" fmla="*/ 0 w 55"/>
                <a:gd name="T19" fmla="*/ 0 h 120"/>
                <a:gd name="T20" fmla="*/ 55 w 55"/>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55" h="120">
                  <a:moveTo>
                    <a:pt x="0" y="89"/>
                  </a:moveTo>
                  <a:lnTo>
                    <a:pt x="29" y="30"/>
                  </a:lnTo>
                  <a:lnTo>
                    <a:pt x="31" y="0"/>
                  </a:lnTo>
                  <a:lnTo>
                    <a:pt x="55" y="61"/>
                  </a:lnTo>
                  <a:lnTo>
                    <a:pt x="25" y="120"/>
                  </a:lnTo>
                  <a:lnTo>
                    <a:pt x="0" y="89"/>
                  </a:lnTo>
                </a:path>
              </a:pathLst>
            </a:custGeom>
            <a:solidFill>
              <a:srgbClr val="B2C2D1"/>
            </a:solidFill>
            <a:ln w="9525">
              <a:noFill/>
              <a:round/>
              <a:headEnd/>
              <a:tailEnd/>
            </a:ln>
          </p:spPr>
          <p:txBody>
            <a:bodyPr/>
            <a:lstStyle/>
            <a:p>
              <a:endParaRPr lang="el-GR"/>
            </a:p>
          </p:txBody>
        </p:sp>
        <p:sp>
          <p:nvSpPr>
            <p:cNvPr id="136" name="Freeform 13"/>
            <p:cNvSpPr>
              <a:spLocks/>
            </p:cNvSpPr>
            <p:nvPr/>
          </p:nvSpPr>
          <p:spPr bwMode="auto">
            <a:xfrm>
              <a:off x="1996" y="1821"/>
              <a:ext cx="58" cy="104"/>
            </a:xfrm>
            <a:custGeom>
              <a:avLst/>
              <a:gdLst>
                <a:gd name="T0" fmla="*/ 13 w 239"/>
                <a:gd name="T1" fmla="*/ 5 h 436"/>
                <a:gd name="T2" fmla="*/ 13 w 239"/>
                <a:gd name="T3" fmla="*/ 5 h 436"/>
                <a:gd name="T4" fmla="*/ 12 w 239"/>
                <a:gd name="T5" fmla="*/ 9 h 436"/>
                <a:gd name="T6" fmla="*/ 14 w 239"/>
                <a:gd name="T7" fmla="*/ 10 h 436"/>
                <a:gd name="T8" fmla="*/ 12 w 239"/>
                <a:gd name="T9" fmla="*/ 12 h 436"/>
                <a:gd name="T10" fmla="*/ 10 w 239"/>
                <a:gd name="T11" fmla="*/ 15 h 436"/>
                <a:gd name="T12" fmla="*/ 12 w 239"/>
                <a:gd name="T13" fmla="*/ 14 h 436"/>
                <a:gd name="T14" fmla="*/ 12 w 239"/>
                <a:gd name="T15" fmla="*/ 17 h 436"/>
                <a:gd name="T16" fmla="*/ 12 w 239"/>
                <a:gd name="T17" fmla="*/ 20 h 436"/>
                <a:gd name="T18" fmla="*/ 10 w 239"/>
                <a:gd name="T19" fmla="*/ 20 h 436"/>
                <a:gd name="T20" fmla="*/ 8 w 239"/>
                <a:gd name="T21" fmla="*/ 22 h 436"/>
                <a:gd name="T22" fmla="*/ 7 w 239"/>
                <a:gd name="T23" fmla="*/ 21 h 436"/>
                <a:gd name="T24" fmla="*/ 5 w 239"/>
                <a:gd name="T25" fmla="*/ 25 h 436"/>
                <a:gd name="T26" fmla="*/ 5 w 239"/>
                <a:gd name="T27" fmla="*/ 21 h 436"/>
                <a:gd name="T28" fmla="*/ 3 w 239"/>
                <a:gd name="T29" fmla="*/ 21 h 436"/>
                <a:gd name="T30" fmla="*/ 4 w 239"/>
                <a:gd name="T31" fmla="*/ 20 h 436"/>
                <a:gd name="T32" fmla="*/ 2 w 239"/>
                <a:gd name="T33" fmla="*/ 23 h 436"/>
                <a:gd name="T34" fmla="*/ 0 w 239"/>
                <a:gd name="T35" fmla="*/ 25 h 436"/>
                <a:gd name="T36" fmla="*/ 0 w 239"/>
                <a:gd name="T37" fmla="*/ 23 h 436"/>
                <a:gd name="T38" fmla="*/ 2 w 239"/>
                <a:gd name="T39" fmla="*/ 20 h 436"/>
                <a:gd name="T40" fmla="*/ 0 w 239"/>
                <a:gd name="T41" fmla="*/ 15 h 436"/>
                <a:gd name="T42" fmla="*/ 2 w 239"/>
                <a:gd name="T43" fmla="*/ 15 h 436"/>
                <a:gd name="T44" fmla="*/ 2 w 239"/>
                <a:gd name="T45" fmla="*/ 10 h 436"/>
                <a:gd name="T46" fmla="*/ 4 w 239"/>
                <a:gd name="T47" fmla="*/ 5 h 436"/>
                <a:gd name="T48" fmla="*/ 6 w 239"/>
                <a:gd name="T49" fmla="*/ 5 h 436"/>
                <a:gd name="T50" fmla="*/ 8 w 239"/>
                <a:gd name="T51" fmla="*/ 2 h 436"/>
                <a:gd name="T52" fmla="*/ 9 w 239"/>
                <a:gd name="T53" fmla="*/ 2 h 436"/>
                <a:gd name="T54" fmla="*/ 10 w 239"/>
                <a:gd name="T55" fmla="*/ 0 h 436"/>
                <a:gd name="T56" fmla="*/ 13 w 239"/>
                <a:gd name="T57" fmla="*/ 0 h 436"/>
                <a:gd name="T58" fmla="*/ 13 w 239"/>
                <a:gd name="T59" fmla="*/ 2 h 436"/>
                <a:gd name="T60" fmla="*/ 13 w 239"/>
                <a:gd name="T61" fmla="*/ 5 h 4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9"/>
                <a:gd name="T94" fmla="*/ 0 h 436"/>
                <a:gd name="T95" fmla="*/ 239 w 239"/>
                <a:gd name="T96" fmla="*/ 436 h 4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9" h="436">
                  <a:moveTo>
                    <a:pt x="216" y="91"/>
                  </a:moveTo>
                  <a:lnTo>
                    <a:pt x="216" y="91"/>
                  </a:lnTo>
                  <a:lnTo>
                    <a:pt x="212" y="149"/>
                  </a:lnTo>
                  <a:lnTo>
                    <a:pt x="239" y="181"/>
                  </a:lnTo>
                  <a:lnTo>
                    <a:pt x="209" y="208"/>
                  </a:lnTo>
                  <a:lnTo>
                    <a:pt x="178" y="265"/>
                  </a:lnTo>
                  <a:lnTo>
                    <a:pt x="208" y="237"/>
                  </a:lnTo>
                  <a:lnTo>
                    <a:pt x="205" y="295"/>
                  </a:lnTo>
                  <a:lnTo>
                    <a:pt x="201" y="354"/>
                  </a:lnTo>
                  <a:lnTo>
                    <a:pt x="173" y="353"/>
                  </a:lnTo>
                  <a:lnTo>
                    <a:pt x="144" y="381"/>
                  </a:lnTo>
                  <a:lnTo>
                    <a:pt x="115" y="379"/>
                  </a:lnTo>
                  <a:lnTo>
                    <a:pt x="85" y="436"/>
                  </a:lnTo>
                  <a:lnTo>
                    <a:pt x="87" y="378"/>
                  </a:lnTo>
                  <a:lnTo>
                    <a:pt x="59" y="377"/>
                  </a:lnTo>
                  <a:lnTo>
                    <a:pt x="61" y="347"/>
                  </a:lnTo>
                  <a:lnTo>
                    <a:pt x="29" y="404"/>
                  </a:lnTo>
                  <a:lnTo>
                    <a:pt x="0" y="432"/>
                  </a:lnTo>
                  <a:lnTo>
                    <a:pt x="1" y="403"/>
                  </a:lnTo>
                  <a:lnTo>
                    <a:pt x="33" y="345"/>
                  </a:lnTo>
                  <a:lnTo>
                    <a:pt x="9" y="256"/>
                  </a:lnTo>
                  <a:lnTo>
                    <a:pt x="37" y="258"/>
                  </a:lnTo>
                  <a:lnTo>
                    <a:pt x="42" y="170"/>
                  </a:lnTo>
                  <a:lnTo>
                    <a:pt x="75" y="83"/>
                  </a:lnTo>
                  <a:lnTo>
                    <a:pt x="103" y="85"/>
                  </a:lnTo>
                  <a:lnTo>
                    <a:pt x="134" y="28"/>
                  </a:lnTo>
                  <a:lnTo>
                    <a:pt x="162" y="29"/>
                  </a:lnTo>
                  <a:lnTo>
                    <a:pt x="164" y="0"/>
                  </a:lnTo>
                  <a:lnTo>
                    <a:pt x="220" y="3"/>
                  </a:lnTo>
                  <a:lnTo>
                    <a:pt x="219" y="32"/>
                  </a:lnTo>
                  <a:lnTo>
                    <a:pt x="216" y="91"/>
                  </a:lnTo>
                  <a:close/>
                </a:path>
              </a:pathLst>
            </a:custGeom>
            <a:solidFill>
              <a:srgbClr val="B2C2D1"/>
            </a:solidFill>
            <a:ln w="9525">
              <a:noFill/>
              <a:round/>
              <a:headEnd/>
              <a:tailEnd/>
            </a:ln>
          </p:spPr>
          <p:txBody>
            <a:bodyPr/>
            <a:lstStyle/>
            <a:p>
              <a:endParaRPr lang="el-GR"/>
            </a:p>
          </p:txBody>
        </p:sp>
        <p:sp>
          <p:nvSpPr>
            <p:cNvPr id="137" name="Freeform 14"/>
            <p:cNvSpPr>
              <a:spLocks/>
            </p:cNvSpPr>
            <p:nvPr/>
          </p:nvSpPr>
          <p:spPr bwMode="auto">
            <a:xfrm>
              <a:off x="1996" y="1821"/>
              <a:ext cx="58" cy="104"/>
            </a:xfrm>
            <a:custGeom>
              <a:avLst/>
              <a:gdLst>
                <a:gd name="T0" fmla="*/ 13 w 239"/>
                <a:gd name="T1" fmla="*/ 5 h 436"/>
                <a:gd name="T2" fmla="*/ 13 w 239"/>
                <a:gd name="T3" fmla="*/ 5 h 436"/>
                <a:gd name="T4" fmla="*/ 12 w 239"/>
                <a:gd name="T5" fmla="*/ 9 h 436"/>
                <a:gd name="T6" fmla="*/ 14 w 239"/>
                <a:gd name="T7" fmla="*/ 10 h 436"/>
                <a:gd name="T8" fmla="*/ 12 w 239"/>
                <a:gd name="T9" fmla="*/ 12 h 436"/>
                <a:gd name="T10" fmla="*/ 10 w 239"/>
                <a:gd name="T11" fmla="*/ 15 h 436"/>
                <a:gd name="T12" fmla="*/ 12 w 239"/>
                <a:gd name="T13" fmla="*/ 14 h 436"/>
                <a:gd name="T14" fmla="*/ 12 w 239"/>
                <a:gd name="T15" fmla="*/ 17 h 436"/>
                <a:gd name="T16" fmla="*/ 12 w 239"/>
                <a:gd name="T17" fmla="*/ 20 h 436"/>
                <a:gd name="T18" fmla="*/ 10 w 239"/>
                <a:gd name="T19" fmla="*/ 20 h 436"/>
                <a:gd name="T20" fmla="*/ 8 w 239"/>
                <a:gd name="T21" fmla="*/ 22 h 436"/>
                <a:gd name="T22" fmla="*/ 7 w 239"/>
                <a:gd name="T23" fmla="*/ 21 h 436"/>
                <a:gd name="T24" fmla="*/ 5 w 239"/>
                <a:gd name="T25" fmla="*/ 25 h 436"/>
                <a:gd name="T26" fmla="*/ 5 w 239"/>
                <a:gd name="T27" fmla="*/ 21 h 436"/>
                <a:gd name="T28" fmla="*/ 3 w 239"/>
                <a:gd name="T29" fmla="*/ 21 h 436"/>
                <a:gd name="T30" fmla="*/ 4 w 239"/>
                <a:gd name="T31" fmla="*/ 20 h 436"/>
                <a:gd name="T32" fmla="*/ 2 w 239"/>
                <a:gd name="T33" fmla="*/ 23 h 436"/>
                <a:gd name="T34" fmla="*/ 0 w 239"/>
                <a:gd name="T35" fmla="*/ 25 h 436"/>
                <a:gd name="T36" fmla="*/ 0 w 239"/>
                <a:gd name="T37" fmla="*/ 23 h 436"/>
                <a:gd name="T38" fmla="*/ 2 w 239"/>
                <a:gd name="T39" fmla="*/ 20 h 436"/>
                <a:gd name="T40" fmla="*/ 0 w 239"/>
                <a:gd name="T41" fmla="*/ 15 h 436"/>
                <a:gd name="T42" fmla="*/ 2 w 239"/>
                <a:gd name="T43" fmla="*/ 15 h 436"/>
                <a:gd name="T44" fmla="*/ 2 w 239"/>
                <a:gd name="T45" fmla="*/ 10 h 436"/>
                <a:gd name="T46" fmla="*/ 4 w 239"/>
                <a:gd name="T47" fmla="*/ 5 h 436"/>
                <a:gd name="T48" fmla="*/ 6 w 239"/>
                <a:gd name="T49" fmla="*/ 5 h 436"/>
                <a:gd name="T50" fmla="*/ 8 w 239"/>
                <a:gd name="T51" fmla="*/ 2 h 436"/>
                <a:gd name="T52" fmla="*/ 9 w 239"/>
                <a:gd name="T53" fmla="*/ 2 h 436"/>
                <a:gd name="T54" fmla="*/ 10 w 239"/>
                <a:gd name="T55" fmla="*/ 0 h 436"/>
                <a:gd name="T56" fmla="*/ 13 w 239"/>
                <a:gd name="T57" fmla="*/ 0 h 436"/>
                <a:gd name="T58" fmla="*/ 13 w 239"/>
                <a:gd name="T59" fmla="*/ 2 h 436"/>
                <a:gd name="T60" fmla="*/ 13 w 239"/>
                <a:gd name="T61" fmla="*/ 5 h 4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9"/>
                <a:gd name="T94" fmla="*/ 0 h 436"/>
                <a:gd name="T95" fmla="*/ 239 w 239"/>
                <a:gd name="T96" fmla="*/ 436 h 4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9" h="436">
                  <a:moveTo>
                    <a:pt x="216" y="91"/>
                  </a:moveTo>
                  <a:lnTo>
                    <a:pt x="216" y="91"/>
                  </a:lnTo>
                  <a:lnTo>
                    <a:pt x="212" y="149"/>
                  </a:lnTo>
                  <a:lnTo>
                    <a:pt x="239" y="181"/>
                  </a:lnTo>
                  <a:lnTo>
                    <a:pt x="209" y="208"/>
                  </a:lnTo>
                  <a:lnTo>
                    <a:pt x="178" y="265"/>
                  </a:lnTo>
                  <a:lnTo>
                    <a:pt x="208" y="237"/>
                  </a:lnTo>
                  <a:lnTo>
                    <a:pt x="205" y="295"/>
                  </a:lnTo>
                  <a:lnTo>
                    <a:pt x="201" y="354"/>
                  </a:lnTo>
                  <a:lnTo>
                    <a:pt x="173" y="353"/>
                  </a:lnTo>
                  <a:lnTo>
                    <a:pt x="144" y="381"/>
                  </a:lnTo>
                  <a:lnTo>
                    <a:pt x="115" y="379"/>
                  </a:lnTo>
                  <a:lnTo>
                    <a:pt x="85" y="436"/>
                  </a:lnTo>
                  <a:lnTo>
                    <a:pt x="87" y="378"/>
                  </a:lnTo>
                  <a:lnTo>
                    <a:pt x="59" y="377"/>
                  </a:lnTo>
                  <a:lnTo>
                    <a:pt x="61" y="347"/>
                  </a:lnTo>
                  <a:lnTo>
                    <a:pt x="29" y="404"/>
                  </a:lnTo>
                  <a:lnTo>
                    <a:pt x="0" y="432"/>
                  </a:lnTo>
                  <a:lnTo>
                    <a:pt x="1" y="403"/>
                  </a:lnTo>
                  <a:lnTo>
                    <a:pt x="33" y="345"/>
                  </a:lnTo>
                  <a:lnTo>
                    <a:pt x="9" y="256"/>
                  </a:lnTo>
                  <a:lnTo>
                    <a:pt x="37" y="258"/>
                  </a:lnTo>
                  <a:lnTo>
                    <a:pt x="42" y="170"/>
                  </a:lnTo>
                  <a:lnTo>
                    <a:pt x="75" y="83"/>
                  </a:lnTo>
                  <a:lnTo>
                    <a:pt x="103" y="85"/>
                  </a:lnTo>
                  <a:lnTo>
                    <a:pt x="134" y="28"/>
                  </a:lnTo>
                  <a:lnTo>
                    <a:pt x="162" y="29"/>
                  </a:lnTo>
                  <a:lnTo>
                    <a:pt x="164" y="0"/>
                  </a:lnTo>
                  <a:lnTo>
                    <a:pt x="220" y="3"/>
                  </a:lnTo>
                  <a:lnTo>
                    <a:pt x="219" y="32"/>
                  </a:lnTo>
                  <a:lnTo>
                    <a:pt x="216" y="91"/>
                  </a:lnTo>
                </a:path>
              </a:pathLst>
            </a:custGeom>
            <a:solidFill>
              <a:srgbClr val="B2C2D1"/>
            </a:solidFill>
            <a:ln w="9525">
              <a:noFill/>
              <a:round/>
              <a:headEnd/>
              <a:tailEnd/>
            </a:ln>
          </p:spPr>
          <p:txBody>
            <a:bodyPr/>
            <a:lstStyle/>
            <a:p>
              <a:endParaRPr lang="el-GR"/>
            </a:p>
          </p:txBody>
        </p:sp>
        <p:sp>
          <p:nvSpPr>
            <p:cNvPr id="138" name="Freeform 15"/>
            <p:cNvSpPr>
              <a:spLocks/>
            </p:cNvSpPr>
            <p:nvPr/>
          </p:nvSpPr>
          <p:spPr bwMode="auto">
            <a:xfrm>
              <a:off x="2021" y="1954"/>
              <a:ext cx="44" cy="77"/>
            </a:xfrm>
            <a:custGeom>
              <a:avLst/>
              <a:gdLst>
                <a:gd name="T0" fmla="*/ 2 w 183"/>
                <a:gd name="T1" fmla="*/ 0 h 326"/>
                <a:gd name="T2" fmla="*/ 3 w 183"/>
                <a:gd name="T3" fmla="*/ 0 h 326"/>
                <a:gd name="T4" fmla="*/ 3 w 183"/>
                <a:gd name="T5" fmla="*/ 2 h 326"/>
                <a:gd name="T6" fmla="*/ 3 w 183"/>
                <a:gd name="T7" fmla="*/ 3 h 326"/>
                <a:gd name="T8" fmla="*/ 5 w 183"/>
                <a:gd name="T9" fmla="*/ 3 h 326"/>
                <a:gd name="T10" fmla="*/ 5 w 183"/>
                <a:gd name="T11" fmla="*/ 5 h 326"/>
                <a:gd name="T12" fmla="*/ 6 w 183"/>
                <a:gd name="T13" fmla="*/ 5 h 326"/>
                <a:gd name="T14" fmla="*/ 5 w 183"/>
                <a:gd name="T15" fmla="*/ 7 h 326"/>
                <a:gd name="T16" fmla="*/ 5 w 183"/>
                <a:gd name="T17" fmla="*/ 10 h 326"/>
                <a:gd name="T18" fmla="*/ 6 w 183"/>
                <a:gd name="T19" fmla="*/ 12 h 326"/>
                <a:gd name="T20" fmla="*/ 6 w 183"/>
                <a:gd name="T21" fmla="*/ 10 h 326"/>
                <a:gd name="T22" fmla="*/ 7 w 183"/>
                <a:gd name="T23" fmla="*/ 12 h 326"/>
                <a:gd name="T24" fmla="*/ 7 w 183"/>
                <a:gd name="T25" fmla="*/ 15 h 326"/>
                <a:gd name="T26" fmla="*/ 11 w 183"/>
                <a:gd name="T27" fmla="*/ 17 h 326"/>
                <a:gd name="T28" fmla="*/ 6 w 183"/>
                <a:gd name="T29" fmla="*/ 18 h 326"/>
                <a:gd name="T30" fmla="*/ 4 w 183"/>
                <a:gd name="T31" fmla="*/ 17 h 326"/>
                <a:gd name="T32" fmla="*/ 4 w 183"/>
                <a:gd name="T33" fmla="*/ 13 h 326"/>
                <a:gd name="T34" fmla="*/ 3 w 183"/>
                <a:gd name="T35" fmla="*/ 12 h 326"/>
                <a:gd name="T36" fmla="*/ 0 w 183"/>
                <a:gd name="T37" fmla="*/ 3 h 326"/>
                <a:gd name="T38" fmla="*/ 0 w 183"/>
                <a:gd name="T39" fmla="*/ 1 h 326"/>
                <a:gd name="T40" fmla="*/ 2 w 183"/>
                <a:gd name="T41" fmla="*/ 2 h 326"/>
                <a:gd name="T42" fmla="*/ 2 w 183"/>
                <a:gd name="T43" fmla="*/ 0 h 3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3"/>
                <a:gd name="T67" fmla="*/ 0 h 326"/>
                <a:gd name="T68" fmla="*/ 183 w 183"/>
                <a:gd name="T69" fmla="*/ 326 h 3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3" h="326">
                  <a:moveTo>
                    <a:pt x="30" y="0"/>
                  </a:moveTo>
                  <a:lnTo>
                    <a:pt x="59" y="1"/>
                  </a:lnTo>
                  <a:lnTo>
                    <a:pt x="56" y="31"/>
                  </a:lnTo>
                  <a:lnTo>
                    <a:pt x="55" y="60"/>
                  </a:lnTo>
                  <a:lnTo>
                    <a:pt x="83" y="61"/>
                  </a:lnTo>
                  <a:lnTo>
                    <a:pt x="82" y="90"/>
                  </a:lnTo>
                  <a:lnTo>
                    <a:pt x="111" y="92"/>
                  </a:lnTo>
                  <a:lnTo>
                    <a:pt x="80" y="119"/>
                  </a:lnTo>
                  <a:lnTo>
                    <a:pt x="77" y="179"/>
                  </a:lnTo>
                  <a:lnTo>
                    <a:pt x="104" y="209"/>
                  </a:lnTo>
                  <a:lnTo>
                    <a:pt x="105" y="180"/>
                  </a:lnTo>
                  <a:lnTo>
                    <a:pt x="131" y="210"/>
                  </a:lnTo>
                  <a:lnTo>
                    <a:pt x="129" y="270"/>
                  </a:lnTo>
                  <a:lnTo>
                    <a:pt x="183" y="301"/>
                  </a:lnTo>
                  <a:lnTo>
                    <a:pt x="98" y="326"/>
                  </a:lnTo>
                  <a:lnTo>
                    <a:pt x="70" y="296"/>
                  </a:lnTo>
                  <a:lnTo>
                    <a:pt x="75" y="237"/>
                  </a:lnTo>
                  <a:lnTo>
                    <a:pt x="48" y="207"/>
                  </a:lnTo>
                  <a:lnTo>
                    <a:pt x="0" y="57"/>
                  </a:lnTo>
                  <a:lnTo>
                    <a:pt x="1" y="27"/>
                  </a:lnTo>
                  <a:lnTo>
                    <a:pt x="29" y="29"/>
                  </a:lnTo>
                  <a:lnTo>
                    <a:pt x="30" y="0"/>
                  </a:lnTo>
                  <a:close/>
                </a:path>
              </a:pathLst>
            </a:custGeom>
            <a:solidFill>
              <a:srgbClr val="B2C2D1"/>
            </a:solidFill>
            <a:ln w="9525">
              <a:noFill/>
              <a:round/>
              <a:headEnd/>
              <a:tailEnd/>
            </a:ln>
          </p:spPr>
          <p:txBody>
            <a:bodyPr/>
            <a:lstStyle/>
            <a:p>
              <a:endParaRPr lang="el-GR"/>
            </a:p>
          </p:txBody>
        </p:sp>
        <p:sp>
          <p:nvSpPr>
            <p:cNvPr id="139" name="Freeform 16"/>
            <p:cNvSpPr>
              <a:spLocks/>
            </p:cNvSpPr>
            <p:nvPr/>
          </p:nvSpPr>
          <p:spPr bwMode="auto">
            <a:xfrm>
              <a:off x="2021" y="1954"/>
              <a:ext cx="44" cy="77"/>
            </a:xfrm>
            <a:custGeom>
              <a:avLst/>
              <a:gdLst>
                <a:gd name="T0" fmla="*/ 2 w 183"/>
                <a:gd name="T1" fmla="*/ 0 h 326"/>
                <a:gd name="T2" fmla="*/ 3 w 183"/>
                <a:gd name="T3" fmla="*/ 0 h 326"/>
                <a:gd name="T4" fmla="*/ 3 w 183"/>
                <a:gd name="T5" fmla="*/ 2 h 326"/>
                <a:gd name="T6" fmla="*/ 3 w 183"/>
                <a:gd name="T7" fmla="*/ 3 h 326"/>
                <a:gd name="T8" fmla="*/ 5 w 183"/>
                <a:gd name="T9" fmla="*/ 3 h 326"/>
                <a:gd name="T10" fmla="*/ 5 w 183"/>
                <a:gd name="T11" fmla="*/ 5 h 326"/>
                <a:gd name="T12" fmla="*/ 6 w 183"/>
                <a:gd name="T13" fmla="*/ 5 h 326"/>
                <a:gd name="T14" fmla="*/ 5 w 183"/>
                <a:gd name="T15" fmla="*/ 7 h 326"/>
                <a:gd name="T16" fmla="*/ 5 w 183"/>
                <a:gd name="T17" fmla="*/ 10 h 326"/>
                <a:gd name="T18" fmla="*/ 6 w 183"/>
                <a:gd name="T19" fmla="*/ 12 h 326"/>
                <a:gd name="T20" fmla="*/ 6 w 183"/>
                <a:gd name="T21" fmla="*/ 10 h 326"/>
                <a:gd name="T22" fmla="*/ 7 w 183"/>
                <a:gd name="T23" fmla="*/ 12 h 326"/>
                <a:gd name="T24" fmla="*/ 7 w 183"/>
                <a:gd name="T25" fmla="*/ 15 h 326"/>
                <a:gd name="T26" fmla="*/ 11 w 183"/>
                <a:gd name="T27" fmla="*/ 17 h 326"/>
                <a:gd name="T28" fmla="*/ 6 w 183"/>
                <a:gd name="T29" fmla="*/ 18 h 326"/>
                <a:gd name="T30" fmla="*/ 4 w 183"/>
                <a:gd name="T31" fmla="*/ 17 h 326"/>
                <a:gd name="T32" fmla="*/ 4 w 183"/>
                <a:gd name="T33" fmla="*/ 13 h 326"/>
                <a:gd name="T34" fmla="*/ 3 w 183"/>
                <a:gd name="T35" fmla="*/ 12 h 326"/>
                <a:gd name="T36" fmla="*/ 0 w 183"/>
                <a:gd name="T37" fmla="*/ 3 h 326"/>
                <a:gd name="T38" fmla="*/ 0 w 183"/>
                <a:gd name="T39" fmla="*/ 1 h 326"/>
                <a:gd name="T40" fmla="*/ 2 w 183"/>
                <a:gd name="T41" fmla="*/ 2 h 326"/>
                <a:gd name="T42" fmla="*/ 2 w 183"/>
                <a:gd name="T43" fmla="*/ 0 h 3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3"/>
                <a:gd name="T67" fmla="*/ 0 h 326"/>
                <a:gd name="T68" fmla="*/ 183 w 183"/>
                <a:gd name="T69" fmla="*/ 326 h 3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3" h="326">
                  <a:moveTo>
                    <a:pt x="30" y="0"/>
                  </a:moveTo>
                  <a:lnTo>
                    <a:pt x="59" y="1"/>
                  </a:lnTo>
                  <a:lnTo>
                    <a:pt x="56" y="31"/>
                  </a:lnTo>
                  <a:lnTo>
                    <a:pt x="55" y="60"/>
                  </a:lnTo>
                  <a:lnTo>
                    <a:pt x="83" y="61"/>
                  </a:lnTo>
                  <a:lnTo>
                    <a:pt x="82" y="90"/>
                  </a:lnTo>
                  <a:lnTo>
                    <a:pt x="111" y="92"/>
                  </a:lnTo>
                  <a:lnTo>
                    <a:pt x="80" y="119"/>
                  </a:lnTo>
                  <a:lnTo>
                    <a:pt x="77" y="179"/>
                  </a:lnTo>
                  <a:lnTo>
                    <a:pt x="104" y="209"/>
                  </a:lnTo>
                  <a:lnTo>
                    <a:pt x="105" y="180"/>
                  </a:lnTo>
                  <a:lnTo>
                    <a:pt x="131" y="210"/>
                  </a:lnTo>
                  <a:lnTo>
                    <a:pt x="129" y="270"/>
                  </a:lnTo>
                  <a:lnTo>
                    <a:pt x="183" y="301"/>
                  </a:lnTo>
                  <a:lnTo>
                    <a:pt x="98" y="326"/>
                  </a:lnTo>
                  <a:lnTo>
                    <a:pt x="70" y="296"/>
                  </a:lnTo>
                  <a:lnTo>
                    <a:pt x="75" y="237"/>
                  </a:lnTo>
                  <a:lnTo>
                    <a:pt x="48" y="207"/>
                  </a:lnTo>
                  <a:lnTo>
                    <a:pt x="0" y="57"/>
                  </a:lnTo>
                  <a:lnTo>
                    <a:pt x="1" y="27"/>
                  </a:lnTo>
                  <a:lnTo>
                    <a:pt x="29" y="29"/>
                  </a:lnTo>
                  <a:lnTo>
                    <a:pt x="30" y="0"/>
                  </a:lnTo>
                </a:path>
              </a:pathLst>
            </a:custGeom>
            <a:solidFill>
              <a:srgbClr val="B2C2D1"/>
            </a:solidFill>
            <a:ln w="9525">
              <a:noFill/>
              <a:round/>
              <a:headEnd/>
              <a:tailEnd/>
            </a:ln>
          </p:spPr>
          <p:txBody>
            <a:bodyPr/>
            <a:lstStyle/>
            <a:p>
              <a:endParaRPr lang="el-GR"/>
            </a:p>
          </p:txBody>
        </p:sp>
        <p:sp>
          <p:nvSpPr>
            <p:cNvPr id="140" name="Freeform 17"/>
            <p:cNvSpPr>
              <a:spLocks/>
            </p:cNvSpPr>
            <p:nvPr/>
          </p:nvSpPr>
          <p:spPr bwMode="auto">
            <a:xfrm>
              <a:off x="1870" y="1653"/>
              <a:ext cx="26" cy="28"/>
            </a:xfrm>
            <a:custGeom>
              <a:avLst/>
              <a:gdLst>
                <a:gd name="T0" fmla="*/ 3 w 112"/>
                <a:gd name="T1" fmla="*/ 2 h 120"/>
                <a:gd name="T2" fmla="*/ 3 w 112"/>
                <a:gd name="T3" fmla="*/ 3 h 120"/>
                <a:gd name="T4" fmla="*/ 5 w 112"/>
                <a:gd name="T5" fmla="*/ 3 h 120"/>
                <a:gd name="T6" fmla="*/ 5 w 112"/>
                <a:gd name="T7" fmla="*/ 5 h 120"/>
                <a:gd name="T8" fmla="*/ 6 w 112"/>
                <a:gd name="T9" fmla="*/ 5 h 120"/>
                <a:gd name="T10" fmla="*/ 4 w 112"/>
                <a:gd name="T11" fmla="*/ 7 h 120"/>
                <a:gd name="T12" fmla="*/ 3 w 112"/>
                <a:gd name="T13" fmla="*/ 7 h 120"/>
                <a:gd name="T14" fmla="*/ 3 w 112"/>
                <a:gd name="T15" fmla="*/ 5 h 120"/>
                <a:gd name="T16" fmla="*/ 2 w 112"/>
                <a:gd name="T17" fmla="*/ 3 h 120"/>
                <a:gd name="T18" fmla="*/ 0 w 112"/>
                <a:gd name="T19" fmla="*/ 3 h 120"/>
                <a:gd name="T20" fmla="*/ 0 w 112"/>
                <a:gd name="T21" fmla="*/ 2 h 120"/>
                <a:gd name="T22" fmla="*/ 0 w 112"/>
                <a:gd name="T23" fmla="*/ 0 h 120"/>
                <a:gd name="T24" fmla="*/ 2 w 112"/>
                <a:gd name="T25" fmla="*/ 0 h 120"/>
                <a:gd name="T26" fmla="*/ 3 w 112"/>
                <a:gd name="T27" fmla="*/ 2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120"/>
                <a:gd name="T44" fmla="*/ 112 w 112"/>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120">
                  <a:moveTo>
                    <a:pt x="59" y="31"/>
                  </a:moveTo>
                  <a:lnTo>
                    <a:pt x="58" y="61"/>
                  </a:lnTo>
                  <a:lnTo>
                    <a:pt x="86" y="62"/>
                  </a:lnTo>
                  <a:lnTo>
                    <a:pt x="84" y="92"/>
                  </a:lnTo>
                  <a:lnTo>
                    <a:pt x="112" y="93"/>
                  </a:lnTo>
                  <a:lnTo>
                    <a:pt x="83" y="120"/>
                  </a:lnTo>
                  <a:lnTo>
                    <a:pt x="54" y="119"/>
                  </a:lnTo>
                  <a:lnTo>
                    <a:pt x="56" y="90"/>
                  </a:lnTo>
                  <a:lnTo>
                    <a:pt x="28" y="59"/>
                  </a:lnTo>
                  <a:lnTo>
                    <a:pt x="0" y="58"/>
                  </a:lnTo>
                  <a:lnTo>
                    <a:pt x="2" y="29"/>
                  </a:lnTo>
                  <a:lnTo>
                    <a:pt x="4" y="0"/>
                  </a:lnTo>
                  <a:lnTo>
                    <a:pt x="32" y="1"/>
                  </a:lnTo>
                  <a:lnTo>
                    <a:pt x="59" y="31"/>
                  </a:lnTo>
                  <a:close/>
                </a:path>
              </a:pathLst>
            </a:custGeom>
            <a:solidFill>
              <a:srgbClr val="B2C2D1"/>
            </a:solidFill>
            <a:ln w="9525">
              <a:noFill/>
              <a:round/>
              <a:headEnd/>
              <a:tailEnd/>
            </a:ln>
          </p:spPr>
          <p:txBody>
            <a:bodyPr/>
            <a:lstStyle/>
            <a:p>
              <a:endParaRPr lang="el-GR"/>
            </a:p>
          </p:txBody>
        </p:sp>
        <p:sp>
          <p:nvSpPr>
            <p:cNvPr id="141" name="Freeform 18"/>
            <p:cNvSpPr>
              <a:spLocks/>
            </p:cNvSpPr>
            <p:nvPr/>
          </p:nvSpPr>
          <p:spPr bwMode="auto">
            <a:xfrm>
              <a:off x="1870" y="1653"/>
              <a:ext cx="26" cy="28"/>
            </a:xfrm>
            <a:custGeom>
              <a:avLst/>
              <a:gdLst>
                <a:gd name="T0" fmla="*/ 3 w 112"/>
                <a:gd name="T1" fmla="*/ 2 h 120"/>
                <a:gd name="T2" fmla="*/ 3 w 112"/>
                <a:gd name="T3" fmla="*/ 3 h 120"/>
                <a:gd name="T4" fmla="*/ 5 w 112"/>
                <a:gd name="T5" fmla="*/ 3 h 120"/>
                <a:gd name="T6" fmla="*/ 5 w 112"/>
                <a:gd name="T7" fmla="*/ 5 h 120"/>
                <a:gd name="T8" fmla="*/ 6 w 112"/>
                <a:gd name="T9" fmla="*/ 5 h 120"/>
                <a:gd name="T10" fmla="*/ 4 w 112"/>
                <a:gd name="T11" fmla="*/ 7 h 120"/>
                <a:gd name="T12" fmla="*/ 3 w 112"/>
                <a:gd name="T13" fmla="*/ 7 h 120"/>
                <a:gd name="T14" fmla="*/ 3 w 112"/>
                <a:gd name="T15" fmla="*/ 5 h 120"/>
                <a:gd name="T16" fmla="*/ 2 w 112"/>
                <a:gd name="T17" fmla="*/ 3 h 120"/>
                <a:gd name="T18" fmla="*/ 0 w 112"/>
                <a:gd name="T19" fmla="*/ 3 h 120"/>
                <a:gd name="T20" fmla="*/ 0 w 112"/>
                <a:gd name="T21" fmla="*/ 2 h 120"/>
                <a:gd name="T22" fmla="*/ 0 w 112"/>
                <a:gd name="T23" fmla="*/ 0 h 120"/>
                <a:gd name="T24" fmla="*/ 2 w 112"/>
                <a:gd name="T25" fmla="*/ 0 h 120"/>
                <a:gd name="T26" fmla="*/ 3 w 112"/>
                <a:gd name="T27" fmla="*/ 2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120"/>
                <a:gd name="T44" fmla="*/ 112 w 112"/>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120">
                  <a:moveTo>
                    <a:pt x="59" y="31"/>
                  </a:moveTo>
                  <a:lnTo>
                    <a:pt x="58" y="61"/>
                  </a:lnTo>
                  <a:lnTo>
                    <a:pt x="86" y="62"/>
                  </a:lnTo>
                  <a:lnTo>
                    <a:pt x="84" y="92"/>
                  </a:lnTo>
                  <a:lnTo>
                    <a:pt x="112" y="93"/>
                  </a:lnTo>
                  <a:lnTo>
                    <a:pt x="83" y="120"/>
                  </a:lnTo>
                  <a:lnTo>
                    <a:pt x="54" y="119"/>
                  </a:lnTo>
                  <a:lnTo>
                    <a:pt x="56" y="90"/>
                  </a:lnTo>
                  <a:lnTo>
                    <a:pt x="28" y="59"/>
                  </a:lnTo>
                  <a:lnTo>
                    <a:pt x="0" y="58"/>
                  </a:lnTo>
                  <a:lnTo>
                    <a:pt x="2" y="29"/>
                  </a:lnTo>
                  <a:lnTo>
                    <a:pt x="4" y="0"/>
                  </a:lnTo>
                  <a:lnTo>
                    <a:pt x="32" y="1"/>
                  </a:lnTo>
                  <a:lnTo>
                    <a:pt x="59" y="31"/>
                  </a:lnTo>
                </a:path>
              </a:pathLst>
            </a:custGeom>
            <a:solidFill>
              <a:srgbClr val="B2C2D1"/>
            </a:solidFill>
            <a:ln w="9525">
              <a:noFill/>
              <a:round/>
              <a:headEnd/>
              <a:tailEnd/>
            </a:ln>
          </p:spPr>
          <p:txBody>
            <a:bodyPr/>
            <a:lstStyle/>
            <a:p>
              <a:endParaRPr lang="el-GR"/>
            </a:p>
          </p:txBody>
        </p:sp>
        <p:sp>
          <p:nvSpPr>
            <p:cNvPr id="142" name="Freeform 19"/>
            <p:cNvSpPr>
              <a:spLocks/>
            </p:cNvSpPr>
            <p:nvPr/>
          </p:nvSpPr>
          <p:spPr bwMode="auto">
            <a:xfrm>
              <a:off x="2090" y="1901"/>
              <a:ext cx="29" cy="28"/>
            </a:xfrm>
            <a:custGeom>
              <a:avLst/>
              <a:gdLst>
                <a:gd name="T0" fmla="*/ 0 w 118"/>
                <a:gd name="T1" fmla="*/ 7 h 115"/>
                <a:gd name="T2" fmla="*/ 2 w 118"/>
                <a:gd name="T3" fmla="*/ 7 h 115"/>
                <a:gd name="T4" fmla="*/ 2 w 118"/>
                <a:gd name="T5" fmla="*/ 3 h 115"/>
                <a:gd name="T6" fmla="*/ 5 w 118"/>
                <a:gd name="T7" fmla="*/ 4 h 115"/>
                <a:gd name="T8" fmla="*/ 5 w 118"/>
                <a:gd name="T9" fmla="*/ 2 h 115"/>
                <a:gd name="T10" fmla="*/ 7 w 118"/>
                <a:gd name="T11" fmla="*/ 2 h 115"/>
                <a:gd name="T12" fmla="*/ 7 w 118"/>
                <a:gd name="T13" fmla="*/ 0 h 115"/>
                <a:gd name="T14" fmla="*/ 2 w 118"/>
                <a:gd name="T15" fmla="*/ 0 h 115"/>
                <a:gd name="T16" fmla="*/ 2 w 118"/>
                <a:gd name="T17" fmla="*/ 3 h 115"/>
                <a:gd name="T18" fmla="*/ 0 w 118"/>
                <a:gd name="T19" fmla="*/ 3 h 115"/>
                <a:gd name="T20" fmla="*/ 0 w 118"/>
                <a:gd name="T21" fmla="*/ 7 h 1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8"/>
                <a:gd name="T34" fmla="*/ 0 h 115"/>
                <a:gd name="T35" fmla="*/ 118 w 118"/>
                <a:gd name="T36" fmla="*/ 115 h 1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8" h="115">
                  <a:moveTo>
                    <a:pt x="0" y="114"/>
                  </a:moveTo>
                  <a:lnTo>
                    <a:pt x="28" y="115"/>
                  </a:lnTo>
                  <a:lnTo>
                    <a:pt x="30" y="58"/>
                  </a:lnTo>
                  <a:lnTo>
                    <a:pt x="88" y="60"/>
                  </a:lnTo>
                  <a:lnTo>
                    <a:pt x="89" y="32"/>
                  </a:lnTo>
                  <a:lnTo>
                    <a:pt x="117" y="33"/>
                  </a:lnTo>
                  <a:lnTo>
                    <a:pt x="118" y="4"/>
                  </a:lnTo>
                  <a:lnTo>
                    <a:pt x="35" y="0"/>
                  </a:lnTo>
                  <a:lnTo>
                    <a:pt x="30" y="58"/>
                  </a:lnTo>
                  <a:lnTo>
                    <a:pt x="2" y="57"/>
                  </a:lnTo>
                  <a:lnTo>
                    <a:pt x="0" y="114"/>
                  </a:lnTo>
                  <a:close/>
                </a:path>
              </a:pathLst>
            </a:custGeom>
            <a:solidFill>
              <a:srgbClr val="B2C2D1"/>
            </a:solidFill>
            <a:ln w="9525">
              <a:noFill/>
              <a:round/>
              <a:headEnd/>
              <a:tailEnd/>
            </a:ln>
          </p:spPr>
          <p:txBody>
            <a:bodyPr/>
            <a:lstStyle/>
            <a:p>
              <a:endParaRPr lang="el-GR"/>
            </a:p>
          </p:txBody>
        </p:sp>
        <p:sp>
          <p:nvSpPr>
            <p:cNvPr id="143" name="Freeform 20"/>
            <p:cNvSpPr>
              <a:spLocks/>
            </p:cNvSpPr>
            <p:nvPr/>
          </p:nvSpPr>
          <p:spPr bwMode="auto">
            <a:xfrm>
              <a:off x="2090" y="1901"/>
              <a:ext cx="29" cy="28"/>
            </a:xfrm>
            <a:custGeom>
              <a:avLst/>
              <a:gdLst>
                <a:gd name="T0" fmla="*/ 0 w 118"/>
                <a:gd name="T1" fmla="*/ 7 h 115"/>
                <a:gd name="T2" fmla="*/ 2 w 118"/>
                <a:gd name="T3" fmla="*/ 7 h 115"/>
                <a:gd name="T4" fmla="*/ 2 w 118"/>
                <a:gd name="T5" fmla="*/ 3 h 115"/>
                <a:gd name="T6" fmla="*/ 5 w 118"/>
                <a:gd name="T7" fmla="*/ 4 h 115"/>
                <a:gd name="T8" fmla="*/ 5 w 118"/>
                <a:gd name="T9" fmla="*/ 2 h 115"/>
                <a:gd name="T10" fmla="*/ 7 w 118"/>
                <a:gd name="T11" fmla="*/ 2 h 115"/>
                <a:gd name="T12" fmla="*/ 7 w 118"/>
                <a:gd name="T13" fmla="*/ 0 h 115"/>
                <a:gd name="T14" fmla="*/ 2 w 118"/>
                <a:gd name="T15" fmla="*/ 0 h 115"/>
                <a:gd name="T16" fmla="*/ 2 w 118"/>
                <a:gd name="T17" fmla="*/ 3 h 115"/>
                <a:gd name="T18" fmla="*/ 0 w 118"/>
                <a:gd name="T19" fmla="*/ 3 h 115"/>
                <a:gd name="T20" fmla="*/ 0 w 118"/>
                <a:gd name="T21" fmla="*/ 7 h 1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8"/>
                <a:gd name="T34" fmla="*/ 0 h 115"/>
                <a:gd name="T35" fmla="*/ 118 w 118"/>
                <a:gd name="T36" fmla="*/ 115 h 1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8" h="115">
                  <a:moveTo>
                    <a:pt x="0" y="114"/>
                  </a:moveTo>
                  <a:lnTo>
                    <a:pt x="28" y="115"/>
                  </a:lnTo>
                  <a:lnTo>
                    <a:pt x="30" y="58"/>
                  </a:lnTo>
                  <a:lnTo>
                    <a:pt x="88" y="60"/>
                  </a:lnTo>
                  <a:lnTo>
                    <a:pt x="89" y="32"/>
                  </a:lnTo>
                  <a:lnTo>
                    <a:pt x="117" y="33"/>
                  </a:lnTo>
                  <a:lnTo>
                    <a:pt x="118" y="4"/>
                  </a:lnTo>
                  <a:lnTo>
                    <a:pt x="35" y="0"/>
                  </a:lnTo>
                  <a:lnTo>
                    <a:pt x="30" y="58"/>
                  </a:lnTo>
                  <a:lnTo>
                    <a:pt x="2" y="57"/>
                  </a:lnTo>
                  <a:lnTo>
                    <a:pt x="0" y="114"/>
                  </a:lnTo>
                </a:path>
              </a:pathLst>
            </a:custGeom>
            <a:solidFill>
              <a:srgbClr val="B2C2D1"/>
            </a:solidFill>
            <a:ln w="9525">
              <a:noFill/>
              <a:round/>
              <a:headEnd/>
              <a:tailEnd/>
            </a:ln>
          </p:spPr>
          <p:txBody>
            <a:bodyPr/>
            <a:lstStyle/>
            <a:p>
              <a:endParaRPr lang="el-GR"/>
            </a:p>
          </p:txBody>
        </p:sp>
        <p:sp>
          <p:nvSpPr>
            <p:cNvPr id="144" name="Freeform 21"/>
            <p:cNvSpPr>
              <a:spLocks/>
            </p:cNvSpPr>
            <p:nvPr/>
          </p:nvSpPr>
          <p:spPr bwMode="auto">
            <a:xfrm>
              <a:off x="2051" y="1893"/>
              <a:ext cx="21" cy="35"/>
            </a:xfrm>
            <a:custGeom>
              <a:avLst/>
              <a:gdLst>
                <a:gd name="T0" fmla="*/ 3 w 86"/>
                <a:gd name="T1" fmla="*/ 3 h 147"/>
                <a:gd name="T2" fmla="*/ 3 w 86"/>
                <a:gd name="T3" fmla="*/ 3 h 147"/>
                <a:gd name="T4" fmla="*/ 5 w 86"/>
                <a:gd name="T5" fmla="*/ 0 h 147"/>
                <a:gd name="T6" fmla="*/ 3 w 86"/>
                <a:gd name="T7" fmla="*/ 0 h 147"/>
                <a:gd name="T8" fmla="*/ 2 w 86"/>
                <a:gd name="T9" fmla="*/ 2 h 147"/>
                <a:gd name="T10" fmla="*/ 2 w 86"/>
                <a:gd name="T11" fmla="*/ 0 h 147"/>
                <a:gd name="T12" fmla="*/ 0 w 86"/>
                <a:gd name="T13" fmla="*/ 1 h 147"/>
                <a:gd name="T14" fmla="*/ 0 w 86"/>
                <a:gd name="T15" fmla="*/ 3 h 147"/>
                <a:gd name="T16" fmla="*/ 1 w 86"/>
                <a:gd name="T17" fmla="*/ 5 h 147"/>
                <a:gd name="T18" fmla="*/ 1 w 86"/>
                <a:gd name="T19" fmla="*/ 7 h 147"/>
                <a:gd name="T20" fmla="*/ 5 w 86"/>
                <a:gd name="T21" fmla="*/ 8 h 147"/>
                <a:gd name="T22" fmla="*/ 5 w 86"/>
                <a:gd name="T23" fmla="*/ 7 h 147"/>
                <a:gd name="T24" fmla="*/ 3 w 86"/>
                <a:gd name="T25" fmla="*/ 5 h 147"/>
                <a:gd name="T26" fmla="*/ 2 w 86"/>
                <a:gd name="T27" fmla="*/ 3 h 147"/>
                <a:gd name="T28" fmla="*/ 3 w 86"/>
                <a:gd name="T29" fmla="*/ 3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6"/>
                <a:gd name="T46" fmla="*/ 0 h 147"/>
                <a:gd name="T47" fmla="*/ 86 w 86"/>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6" h="147">
                  <a:moveTo>
                    <a:pt x="55" y="58"/>
                  </a:moveTo>
                  <a:lnTo>
                    <a:pt x="55" y="58"/>
                  </a:lnTo>
                  <a:lnTo>
                    <a:pt x="86" y="2"/>
                  </a:lnTo>
                  <a:lnTo>
                    <a:pt x="58" y="1"/>
                  </a:lnTo>
                  <a:lnTo>
                    <a:pt x="29" y="28"/>
                  </a:lnTo>
                  <a:lnTo>
                    <a:pt x="30" y="0"/>
                  </a:lnTo>
                  <a:lnTo>
                    <a:pt x="1" y="27"/>
                  </a:lnTo>
                  <a:lnTo>
                    <a:pt x="0" y="56"/>
                  </a:lnTo>
                  <a:lnTo>
                    <a:pt x="26" y="86"/>
                  </a:lnTo>
                  <a:lnTo>
                    <a:pt x="25" y="116"/>
                  </a:lnTo>
                  <a:lnTo>
                    <a:pt x="79" y="147"/>
                  </a:lnTo>
                  <a:lnTo>
                    <a:pt x="80" y="118"/>
                  </a:lnTo>
                  <a:lnTo>
                    <a:pt x="54" y="88"/>
                  </a:lnTo>
                  <a:lnTo>
                    <a:pt x="27" y="57"/>
                  </a:lnTo>
                  <a:lnTo>
                    <a:pt x="55" y="58"/>
                  </a:lnTo>
                  <a:close/>
                </a:path>
              </a:pathLst>
            </a:custGeom>
            <a:solidFill>
              <a:srgbClr val="B2C2D1"/>
            </a:solidFill>
            <a:ln w="9525">
              <a:noFill/>
              <a:round/>
              <a:headEnd/>
              <a:tailEnd/>
            </a:ln>
          </p:spPr>
          <p:txBody>
            <a:bodyPr/>
            <a:lstStyle/>
            <a:p>
              <a:endParaRPr lang="el-GR"/>
            </a:p>
          </p:txBody>
        </p:sp>
        <p:sp>
          <p:nvSpPr>
            <p:cNvPr id="145" name="Freeform 22"/>
            <p:cNvSpPr>
              <a:spLocks/>
            </p:cNvSpPr>
            <p:nvPr/>
          </p:nvSpPr>
          <p:spPr bwMode="auto">
            <a:xfrm>
              <a:off x="2051" y="1893"/>
              <a:ext cx="21" cy="35"/>
            </a:xfrm>
            <a:custGeom>
              <a:avLst/>
              <a:gdLst>
                <a:gd name="T0" fmla="*/ 3 w 86"/>
                <a:gd name="T1" fmla="*/ 3 h 147"/>
                <a:gd name="T2" fmla="*/ 3 w 86"/>
                <a:gd name="T3" fmla="*/ 3 h 147"/>
                <a:gd name="T4" fmla="*/ 5 w 86"/>
                <a:gd name="T5" fmla="*/ 0 h 147"/>
                <a:gd name="T6" fmla="*/ 3 w 86"/>
                <a:gd name="T7" fmla="*/ 0 h 147"/>
                <a:gd name="T8" fmla="*/ 2 w 86"/>
                <a:gd name="T9" fmla="*/ 2 h 147"/>
                <a:gd name="T10" fmla="*/ 2 w 86"/>
                <a:gd name="T11" fmla="*/ 0 h 147"/>
                <a:gd name="T12" fmla="*/ 0 w 86"/>
                <a:gd name="T13" fmla="*/ 1 h 147"/>
                <a:gd name="T14" fmla="*/ 0 w 86"/>
                <a:gd name="T15" fmla="*/ 3 h 147"/>
                <a:gd name="T16" fmla="*/ 1 w 86"/>
                <a:gd name="T17" fmla="*/ 5 h 147"/>
                <a:gd name="T18" fmla="*/ 1 w 86"/>
                <a:gd name="T19" fmla="*/ 7 h 147"/>
                <a:gd name="T20" fmla="*/ 5 w 86"/>
                <a:gd name="T21" fmla="*/ 8 h 147"/>
                <a:gd name="T22" fmla="*/ 5 w 86"/>
                <a:gd name="T23" fmla="*/ 7 h 147"/>
                <a:gd name="T24" fmla="*/ 3 w 86"/>
                <a:gd name="T25" fmla="*/ 5 h 147"/>
                <a:gd name="T26" fmla="*/ 2 w 86"/>
                <a:gd name="T27" fmla="*/ 3 h 147"/>
                <a:gd name="T28" fmla="*/ 3 w 86"/>
                <a:gd name="T29" fmla="*/ 3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6"/>
                <a:gd name="T46" fmla="*/ 0 h 147"/>
                <a:gd name="T47" fmla="*/ 86 w 86"/>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6" h="147">
                  <a:moveTo>
                    <a:pt x="55" y="58"/>
                  </a:moveTo>
                  <a:lnTo>
                    <a:pt x="55" y="58"/>
                  </a:lnTo>
                  <a:lnTo>
                    <a:pt x="86" y="2"/>
                  </a:lnTo>
                  <a:lnTo>
                    <a:pt x="58" y="1"/>
                  </a:lnTo>
                  <a:lnTo>
                    <a:pt x="29" y="28"/>
                  </a:lnTo>
                  <a:lnTo>
                    <a:pt x="30" y="0"/>
                  </a:lnTo>
                  <a:lnTo>
                    <a:pt x="1" y="27"/>
                  </a:lnTo>
                  <a:lnTo>
                    <a:pt x="0" y="56"/>
                  </a:lnTo>
                  <a:lnTo>
                    <a:pt x="26" y="86"/>
                  </a:lnTo>
                  <a:lnTo>
                    <a:pt x="25" y="116"/>
                  </a:lnTo>
                  <a:lnTo>
                    <a:pt x="79" y="147"/>
                  </a:lnTo>
                  <a:lnTo>
                    <a:pt x="80" y="118"/>
                  </a:lnTo>
                  <a:lnTo>
                    <a:pt x="54" y="88"/>
                  </a:lnTo>
                  <a:lnTo>
                    <a:pt x="27" y="57"/>
                  </a:lnTo>
                  <a:lnTo>
                    <a:pt x="55" y="58"/>
                  </a:lnTo>
                </a:path>
              </a:pathLst>
            </a:custGeom>
            <a:solidFill>
              <a:srgbClr val="B2C2D1"/>
            </a:solidFill>
            <a:ln w="9525">
              <a:noFill/>
              <a:round/>
              <a:headEnd/>
              <a:tailEnd/>
            </a:ln>
          </p:spPr>
          <p:txBody>
            <a:bodyPr/>
            <a:lstStyle/>
            <a:p>
              <a:endParaRPr lang="el-GR"/>
            </a:p>
          </p:txBody>
        </p:sp>
        <p:sp>
          <p:nvSpPr>
            <p:cNvPr id="146" name="Freeform 23"/>
            <p:cNvSpPr>
              <a:spLocks/>
            </p:cNvSpPr>
            <p:nvPr/>
          </p:nvSpPr>
          <p:spPr bwMode="auto">
            <a:xfrm>
              <a:off x="1908" y="1689"/>
              <a:ext cx="13" cy="14"/>
            </a:xfrm>
            <a:custGeom>
              <a:avLst/>
              <a:gdLst>
                <a:gd name="T0" fmla="*/ 2 w 57"/>
                <a:gd name="T1" fmla="*/ 0 h 59"/>
                <a:gd name="T2" fmla="*/ 3 w 57"/>
                <a:gd name="T3" fmla="*/ 2 h 59"/>
                <a:gd name="T4" fmla="*/ 1 w 57"/>
                <a:gd name="T5" fmla="*/ 3 h 59"/>
                <a:gd name="T6" fmla="*/ 0 w 57"/>
                <a:gd name="T7" fmla="*/ 0 h 59"/>
                <a:gd name="T8" fmla="*/ 2 w 57"/>
                <a:gd name="T9" fmla="*/ 0 h 59"/>
                <a:gd name="T10" fmla="*/ 0 60000 65536"/>
                <a:gd name="T11" fmla="*/ 0 60000 65536"/>
                <a:gd name="T12" fmla="*/ 0 60000 65536"/>
                <a:gd name="T13" fmla="*/ 0 60000 65536"/>
                <a:gd name="T14" fmla="*/ 0 60000 65536"/>
                <a:gd name="T15" fmla="*/ 0 w 57"/>
                <a:gd name="T16" fmla="*/ 0 h 59"/>
                <a:gd name="T17" fmla="*/ 57 w 57"/>
                <a:gd name="T18" fmla="*/ 59 h 59"/>
              </a:gdLst>
              <a:ahLst/>
              <a:cxnLst>
                <a:cxn ang="T10">
                  <a:pos x="T0" y="T1"/>
                </a:cxn>
                <a:cxn ang="T11">
                  <a:pos x="T2" y="T3"/>
                </a:cxn>
                <a:cxn ang="T12">
                  <a:pos x="T4" y="T5"/>
                </a:cxn>
                <a:cxn ang="T13">
                  <a:pos x="T6" y="T7"/>
                </a:cxn>
                <a:cxn ang="T14">
                  <a:pos x="T8" y="T9"/>
                </a:cxn>
              </a:cxnLst>
              <a:rect l="T15" t="T16" r="T17" b="T18"/>
              <a:pathLst>
                <a:path w="57" h="59">
                  <a:moveTo>
                    <a:pt x="29" y="1"/>
                  </a:moveTo>
                  <a:lnTo>
                    <a:pt x="57" y="32"/>
                  </a:lnTo>
                  <a:lnTo>
                    <a:pt x="27" y="59"/>
                  </a:lnTo>
                  <a:lnTo>
                    <a:pt x="0" y="0"/>
                  </a:lnTo>
                  <a:lnTo>
                    <a:pt x="29" y="1"/>
                  </a:lnTo>
                  <a:close/>
                </a:path>
              </a:pathLst>
            </a:custGeom>
            <a:solidFill>
              <a:srgbClr val="B2C2D1"/>
            </a:solidFill>
            <a:ln w="9525">
              <a:noFill/>
              <a:round/>
              <a:headEnd/>
              <a:tailEnd/>
            </a:ln>
          </p:spPr>
          <p:txBody>
            <a:bodyPr/>
            <a:lstStyle/>
            <a:p>
              <a:endParaRPr lang="el-GR"/>
            </a:p>
          </p:txBody>
        </p:sp>
        <p:sp>
          <p:nvSpPr>
            <p:cNvPr id="147" name="Freeform 24"/>
            <p:cNvSpPr>
              <a:spLocks/>
            </p:cNvSpPr>
            <p:nvPr/>
          </p:nvSpPr>
          <p:spPr bwMode="auto">
            <a:xfrm>
              <a:off x="1908" y="1689"/>
              <a:ext cx="13" cy="14"/>
            </a:xfrm>
            <a:custGeom>
              <a:avLst/>
              <a:gdLst>
                <a:gd name="T0" fmla="*/ 2 w 57"/>
                <a:gd name="T1" fmla="*/ 0 h 59"/>
                <a:gd name="T2" fmla="*/ 3 w 57"/>
                <a:gd name="T3" fmla="*/ 2 h 59"/>
                <a:gd name="T4" fmla="*/ 1 w 57"/>
                <a:gd name="T5" fmla="*/ 3 h 59"/>
                <a:gd name="T6" fmla="*/ 0 w 57"/>
                <a:gd name="T7" fmla="*/ 0 h 59"/>
                <a:gd name="T8" fmla="*/ 2 w 57"/>
                <a:gd name="T9" fmla="*/ 0 h 59"/>
                <a:gd name="T10" fmla="*/ 0 60000 65536"/>
                <a:gd name="T11" fmla="*/ 0 60000 65536"/>
                <a:gd name="T12" fmla="*/ 0 60000 65536"/>
                <a:gd name="T13" fmla="*/ 0 60000 65536"/>
                <a:gd name="T14" fmla="*/ 0 60000 65536"/>
                <a:gd name="T15" fmla="*/ 0 w 57"/>
                <a:gd name="T16" fmla="*/ 0 h 59"/>
                <a:gd name="T17" fmla="*/ 57 w 57"/>
                <a:gd name="T18" fmla="*/ 59 h 59"/>
              </a:gdLst>
              <a:ahLst/>
              <a:cxnLst>
                <a:cxn ang="T10">
                  <a:pos x="T0" y="T1"/>
                </a:cxn>
                <a:cxn ang="T11">
                  <a:pos x="T2" y="T3"/>
                </a:cxn>
                <a:cxn ang="T12">
                  <a:pos x="T4" y="T5"/>
                </a:cxn>
                <a:cxn ang="T13">
                  <a:pos x="T6" y="T7"/>
                </a:cxn>
                <a:cxn ang="T14">
                  <a:pos x="T8" y="T9"/>
                </a:cxn>
              </a:cxnLst>
              <a:rect l="T15" t="T16" r="T17" b="T18"/>
              <a:pathLst>
                <a:path w="57" h="59">
                  <a:moveTo>
                    <a:pt x="29" y="1"/>
                  </a:moveTo>
                  <a:lnTo>
                    <a:pt x="57" y="32"/>
                  </a:lnTo>
                  <a:lnTo>
                    <a:pt x="27" y="59"/>
                  </a:lnTo>
                  <a:lnTo>
                    <a:pt x="0" y="0"/>
                  </a:lnTo>
                  <a:lnTo>
                    <a:pt x="29" y="1"/>
                  </a:lnTo>
                </a:path>
              </a:pathLst>
            </a:custGeom>
            <a:solidFill>
              <a:srgbClr val="B2C2D1"/>
            </a:solidFill>
            <a:ln w="9525">
              <a:noFill/>
              <a:round/>
              <a:headEnd/>
              <a:tailEnd/>
            </a:ln>
          </p:spPr>
          <p:txBody>
            <a:bodyPr/>
            <a:lstStyle/>
            <a:p>
              <a:endParaRPr lang="el-GR"/>
            </a:p>
          </p:txBody>
        </p:sp>
        <p:sp>
          <p:nvSpPr>
            <p:cNvPr id="148" name="Freeform 25"/>
            <p:cNvSpPr>
              <a:spLocks/>
            </p:cNvSpPr>
            <p:nvPr/>
          </p:nvSpPr>
          <p:spPr bwMode="auto">
            <a:xfrm>
              <a:off x="3111" y="1823"/>
              <a:ext cx="72" cy="84"/>
            </a:xfrm>
            <a:custGeom>
              <a:avLst/>
              <a:gdLst>
                <a:gd name="T0" fmla="*/ 12 w 305"/>
                <a:gd name="T1" fmla="*/ 19 h 353"/>
                <a:gd name="T2" fmla="*/ 14 w 305"/>
                <a:gd name="T3" fmla="*/ 19 h 353"/>
                <a:gd name="T4" fmla="*/ 17 w 305"/>
                <a:gd name="T5" fmla="*/ 19 h 353"/>
                <a:gd name="T6" fmla="*/ 17 w 305"/>
                <a:gd name="T7" fmla="*/ 15 h 353"/>
                <a:gd name="T8" fmla="*/ 11 w 305"/>
                <a:gd name="T9" fmla="*/ 12 h 353"/>
                <a:gd name="T10" fmla="*/ 11 w 305"/>
                <a:gd name="T11" fmla="*/ 10 h 353"/>
                <a:gd name="T12" fmla="*/ 9 w 305"/>
                <a:gd name="T13" fmla="*/ 10 h 353"/>
                <a:gd name="T14" fmla="*/ 10 w 305"/>
                <a:gd name="T15" fmla="*/ 5 h 353"/>
                <a:gd name="T16" fmla="*/ 7 w 305"/>
                <a:gd name="T17" fmla="*/ 4 h 353"/>
                <a:gd name="T18" fmla="*/ 4 w 305"/>
                <a:gd name="T19" fmla="*/ 0 h 353"/>
                <a:gd name="T20" fmla="*/ 0 w 305"/>
                <a:gd name="T21" fmla="*/ 1 h 353"/>
                <a:gd name="T22" fmla="*/ 0 w 305"/>
                <a:gd name="T23" fmla="*/ 3 h 353"/>
                <a:gd name="T24" fmla="*/ 2 w 305"/>
                <a:gd name="T25" fmla="*/ 5 h 353"/>
                <a:gd name="T26" fmla="*/ 0 w 305"/>
                <a:gd name="T27" fmla="*/ 8 h 353"/>
                <a:gd name="T28" fmla="*/ 0 w 305"/>
                <a:gd name="T29" fmla="*/ 10 h 353"/>
                <a:gd name="T30" fmla="*/ 2 w 305"/>
                <a:gd name="T31" fmla="*/ 10 h 353"/>
                <a:gd name="T32" fmla="*/ 3 w 305"/>
                <a:gd name="T33" fmla="*/ 10 h 353"/>
                <a:gd name="T34" fmla="*/ 1 w 305"/>
                <a:gd name="T35" fmla="*/ 11 h 353"/>
                <a:gd name="T36" fmla="*/ 5 w 305"/>
                <a:gd name="T37" fmla="*/ 12 h 353"/>
                <a:gd name="T38" fmla="*/ 4 w 305"/>
                <a:gd name="T39" fmla="*/ 13 h 353"/>
                <a:gd name="T40" fmla="*/ 6 w 305"/>
                <a:gd name="T41" fmla="*/ 12 h 353"/>
                <a:gd name="T42" fmla="*/ 6 w 305"/>
                <a:gd name="T43" fmla="*/ 13 h 353"/>
                <a:gd name="T44" fmla="*/ 8 w 305"/>
                <a:gd name="T45" fmla="*/ 13 h 353"/>
                <a:gd name="T46" fmla="*/ 8 w 305"/>
                <a:gd name="T47" fmla="*/ 15 h 353"/>
                <a:gd name="T48" fmla="*/ 6 w 305"/>
                <a:gd name="T49" fmla="*/ 17 h 353"/>
                <a:gd name="T50" fmla="*/ 6 w 305"/>
                <a:gd name="T51" fmla="*/ 18 h 353"/>
                <a:gd name="T52" fmla="*/ 7 w 305"/>
                <a:gd name="T53" fmla="*/ 18 h 353"/>
                <a:gd name="T54" fmla="*/ 7 w 305"/>
                <a:gd name="T55" fmla="*/ 20 h 353"/>
                <a:gd name="T56" fmla="*/ 9 w 305"/>
                <a:gd name="T57" fmla="*/ 20 h 353"/>
                <a:gd name="T58" fmla="*/ 7 w 305"/>
                <a:gd name="T59" fmla="*/ 18 h 353"/>
                <a:gd name="T60" fmla="*/ 9 w 305"/>
                <a:gd name="T61" fmla="*/ 17 h 353"/>
                <a:gd name="T62" fmla="*/ 12 w 305"/>
                <a:gd name="T63" fmla="*/ 19 h 3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353"/>
                <a:gd name="T98" fmla="*/ 305 w 305"/>
                <a:gd name="T99" fmla="*/ 353 h 3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353">
                  <a:moveTo>
                    <a:pt x="218" y="327"/>
                  </a:moveTo>
                  <a:lnTo>
                    <a:pt x="246" y="328"/>
                  </a:lnTo>
                  <a:lnTo>
                    <a:pt x="302" y="332"/>
                  </a:lnTo>
                  <a:lnTo>
                    <a:pt x="305" y="273"/>
                  </a:lnTo>
                  <a:lnTo>
                    <a:pt x="195" y="210"/>
                  </a:lnTo>
                  <a:lnTo>
                    <a:pt x="197" y="181"/>
                  </a:lnTo>
                  <a:lnTo>
                    <a:pt x="169" y="180"/>
                  </a:lnTo>
                  <a:lnTo>
                    <a:pt x="174" y="92"/>
                  </a:lnTo>
                  <a:lnTo>
                    <a:pt x="118" y="61"/>
                  </a:lnTo>
                  <a:lnTo>
                    <a:pt x="66" y="0"/>
                  </a:lnTo>
                  <a:lnTo>
                    <a:pt x="8" y="26"/>
                  </a:lnTo>
                  <a:lnTo>
                    <a:pt x="7" y="55"/>
                  </a:lnTo>
                  <a:lnTo>
                    <a:pt x="33" y="85"/>
                  </a:lnTo>
                  <a:lnTo>
                    <a:pt x="1" y="142"/>
                  </a:lnTo>
                  <a:lnTo>
                    <a:pt x="0" y="170"/>
                  </a:lnTo>
                  <a:lnTo>
                    <a:pt x="28" y="173"/>
                  </a:lnTo>
                  <a:lnTo>
                    <a:pt x="57" y="174"/>
                  </a:lnTo>
                  <a:lnTo>
                    <a:pt x="27" y="201"/>
                  </a:lnTo>
                  <a:lnTo>
                    <a:pt x="84" y="204"/>
                  </a:lnTo>
                  <a:lnTo>
                    <a:pt x="81" y="233"/>
                  </a:lnTo>
                  <a:lnTo>
                    <a:pt x="111" y="206"/>
                  </a:lnTo>
                  <a:lnTo>
                    <a:pt x="110" y="235"/>
                  </a:lnTo>
                  <a:lnTo>
                    <a:pt x="138" y="236"/>
                  </a:lnTo>
                  <a:lnTo>
                    <a:pt x="137" y="266"/>
                  </a:lnTo>
                  <a:lnTo>
                    <a:pt x="106" y="293"/>
                  </a:lnTo>
                  <a:lnTo>
                    <a:pt x="105" y="322"/>
                  </a:lnTo>
                  <a:lnTo>
                    <a:pt x="133" y="323"/>
                  </a:lnTo>
                  <a:lnTo>
                    <a:pt x="131" y="352"/>
                  </a:lnTo>
                  <a:lnTo>
                    <a:pt x="159" y="353"/>
                  </a:lnTo>
                  <a:lnTo>
                    <a:pt x="133" y="323"/>
                  </a:lnTo>
                  <a:lnTo>
                    <a:pt x="163" y="296"/>
                  </a:lnTo>
                  <a:lnTo>
                    <a:pt x="218" y="327"/>
                  </a:lnTo>
                  <a:close/>
                </a:path>
              </a:pathLst>
            </a:custGeom>
            <a:solidFill>
              <a:srgbClr val="B2C2D1"/>
            </a:solidFill>
            <a:ln w="9525">
              <a:noFill/>
              <a:round/>
              <a:headEnd/>
              <a:tailEnd/>
            </a:ln>
          </p:spPr>
          <p:txBody>
            <a:bodyPr/>
            <a:lstStyle/>
            <a:p>
              <a:endParaRPr lang="el-GR"/>
            </a:p>
          </p:txBody>
        </p:sp>
        <p:sp>
          <p:nvSpPr>
            <p:cNvPr id="149" name="Freeform 26"/>
            <p:cNvSpPr>
              <a:spLocks/>
            </p:cNvSpPr>
            <p:nvPr/>
          </p:nvSpPr>
          <p:spPr bwMode="auto">
            <a:xfrm>
              <a:off x="3111" y="1823"/>
              <a:ext cx="72" cy="84"/>
            </a:xfrm>
            <a:custGeom>
              <a:avLst/>
              <a:gdLst>
                <a:gd name="T0" fmla="*/ 12 w 305"/>
                <a:gd name="T1" fmla="*/ 19 h 353"/>
                <a:gd name="T2" fmla="*/ 14 w 305"/>
                <a:gd name="T3" fmla="*/ 19 h 353"/>
                <a:gd name="T4" fmla="*/ 17 w 305"/>
                <a:gd name="T5" fmla="*/ 19 h 353"/>
                <a:gd name="T6" fmla="*/ 17 w 305"/>
                <a:gd name="T7" fmla="*/ 15 h 353"/>
                <a:gd name="T8" fmla="*/ 11 w 305"/>
                <a:gd name="T9" fmla="*/ 12 h 353"/>
                <a:gd name="T10" fmla="*/ 11 w 305"/>
                <a:gd name="T11" fmla="*/ 10 h 353"/>
                <a:gd name="T12" fmla="*/ 9 w 305"/>
                <a:gd name="T13" fmla="*/ 10 h 353"/>
                <a:gd name="T14" fmla="*/ 10 w 305"/>
                <a:gd name="T15" fmla="*/ 5 h 353"/>
                <a:gd name="T16" fmla="*/ 7 w 305"/>
                <a:gd name="T17" fmla="*/ 4 h 353"/>
                <a:gd name="T18" fmla="*/ 4 w 305"/>
                <a:gd name="T19" fmla="*/ 0 h 353"/>
                <a:gd name="T20" fmla="*/ 0 w 305"/>
                <a:gd name="T21" fmla="*/ 1 h 353"/>
                <a:gd name="T22" fmla="*/ 0 w 305"/>
                <a:gd name="T23" fmla="*/ 3 h 353"/>
                <a:gd name="T24" fmla="*/ 2 w 305"/>
                <a:gd name="T25" fmla="*/ 5 h 353"/>
                <a:gd name="T26" fmla="*/ 0 w 305"/>
                <a:gd name="T27" fmla="*/ 8 h 353"/>
                <a:gd name="T28" fmla="*/ 0 w 305"/>
                <a:gd name="T29" fmla="*/ 10 h 353"/>
                <a:gd name="T30" fmla="*/ 2 w 305"/>
                <a:gd name="T31" fmla="*/ 10 h 353"/>
                <a:gd name="T32" fmla="*/ 3 w 305"/>
                <a:gd name="T33" fmla="*/ 10 h 353"/>
                <a:gd name="T34" fmla="*/ 1 w 305"/>
                <a:gd name="T35" fmla="*/ 11 h 353"/>
                <a:gd name="T36" fmla="*/ 5 w 305"/>
                <a:gd name="T37" fmla="*/ 12 h 353"/>
                <a:gd name="T38" fmla="*/ 4 w 305"/>
                <a:gd name="T39" fmla="*/ 13 h 353"/>
                <a:gd name="T40" fmla="*/ 6 w 305"/>
                <a:gd name="T41" fmla="*/ 12 h 353"/>
                <a:gd name="T42" fmla="*/ 6 w 305"/>
                <a:gd name="T43" fmla="*/ 13 h 353"/>
                <a:gd name="T44" fmla="*/ 8 w 305"/>
                <a:gd name="T45" fmla="*/ 13 h 353"/>
                <a:gd name="T46" fmla="*/ 8 w 305"/>
                <a:gd name="T47" fmla="*/ 15 h 353"/>
                <a:gd name="T48" fmla="*/ 6 w 305"/>
                <a:gd name="T49" fmla="*/ 17 h 353"/>
                <a:gd name="T50" fmla="*/ 6 w 305"/>
                <a:gd name="T51" fmla="*/ 18 h 353"/>
                <a:gd name="T52" fmla="*/ 7 w 305"/>
                <a:gd name="T53" fmla="*/ 18 h 353"/>
                <a:gd name="T54" fmla="*/ 7 w 305"/>
                <a:gd name="T55" fmla="*/ 20 h 353"/>
                <a:gd name="T56" fmla="*/ 9 w 305"/>
                <a:gd name="T57" fmla="*/ 20 h 353"/>
                <a:gd name="T58" fmla="*/ 7 w 305"/>
                <a:gd name="T59" fmla="*/ 18 h 353"/>
                <a:gd name="T60" fmla="*/ 9 w 305"/>
                <a:gd name="T61" fmla="*/ 17 h 353"/>
                <a:gd name="T62" fmla="*/ 12 w 305"/>
                <a:gd name="T63" fmla="*/ 19 h 3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353"/>
                <a:gd name="T98" fmla="*/ 305 w 305"/>
                <a:gd name="T99" fmla="*/ 353 h 3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353">
                  <a:moveTo>
                    <a:pt x="218" y="327"/>
                  </a:moveTo>
                  <a:lnTo>
                    <a:pt x="246" y="328"/>
                  </a:lnTo>
                  <a:lnTo>
                    <a:pt x="302" y="332"/>
                  </a:lnTo>
                  <a:lnTo>
                    <a:pt x="305" y="273"/>
                  </a:lnTo>
                  <a:lnTo>
                    <a:pt x="195" y="210"/>
                  </a:lnTo>
                  <a:lnTo>
                    <a:pt x="197" y="181"/>
                  </a:lnTo>
                  <a:lnTo>
                    <a:pt x="169" y="180"/>
                  </a:lnTo>
                  <a:lnTo>
                    <a:pt x="174" y="92"/>
                  </a:lnTo>
                  <a:lnTo>
                    <a:pt x="118" y="61"/>
                  </a:lnTo>
                  <a:lnTo>
                    <a:pt x="66" y="0"/>
                  </a:lnTo>
                  <a:lnTo>
                    <a:pt x="8" y="26"/>
                  </a:lnTo>
                  <a:lnTo>
                    <a:pt x="7" y="55"/>
                  </a:lnTo>
                  <a:lnTo>
                    <a:pt x="33" y="85"/>
                  </a:lnTo>
                  <a:lnTo>
                    <a:pt x="1" y="142"/>
                  </a:lnTo>
                  <a:lnTo>
                    <a:pt x="0" y="170"/>
                  </a:lnTo>
                  <a:lnTo>
                    <a:pt x="28" y="173"/>
                  </a:lnTo>
                  <a:lnTo>
                    <a:pt x="57" y="174"/>
                  </a:lnTo>
                  <a:lnTo>
                    <a:pt x="27" y="201"/>
                  </a:lnTo>
                  <a:lnTo>
                    <a:pt x="84" y="204"/>
                  </a:lnTo>
                  <a:lnTo>
                    <a:pt x="81" y="233"/>
                  </a:lnTo>
                  <a:lnTo>
                    <a:pt x="111" y="206"/>
                  </a:lnTo>
                  <a:lnTo>
                    <a:pt x="110" y="235"/>
                  </a:lnTo>
                  <a:lnTo>
                    <a:pt x="138" y="236"/>
                  </a:lnTo>
                  <a:lnTo>
                    <a:pt x="137" y="266"/>
                  </a:lnTo>
                  <a:lnTo>
                    <a:pt x="106" y="293"/>
                  </a:lnTo>
                  <a:lnTo>
                    <a:pt x="105" y="322"/>
                  </a:lnTo>
                  <a:lnTo>
                    <a:pt x="133" y="323"/>
                  </a:lnTo>
                  <a:lnTo>
                    <a:pt x="131" y="352"/>
                  </a:lnTo>
                  <a:lnTo>
                    <a:pt x="159" y="353"/>
                  </a:lnTo>
                  <a:lnTo>
                    <a:pt x="133" y="323"/>
                  </a:lnTo>
                  <a:lnTo>
                    <a:pt x="163" y="296"/>
                  </a:lnTo>
                  <a:lnTo>
                    <a:pt x="218" y="327"/>
                  </a:lnTo>
                </a:path>
              </a:pathLst>
            </a:custGeom>
            <a:solidFill>
              <a:srgbClr val="B2C2D1"/>
            </a:solidFill>
            <a:ln w="9525">
              <a:noFill/>
              <a:round/>
              <a:headEnd/>
              <a:tailEnd/>
            </a:ln>
          </p:spPr>
          <p:txBody>
            <a:bodyPr/>
            <a:lstStyle/>
            <a:p>
              <a:endParaRPr lang="el-GR"/>
            </a:p>
          </p:txBody>
        </p:sp>
        <p:sp>
          <p:nvSpPr>
            <p:cNvPr id="150" name="Freeform 27"/>
            <p:cNvSpPr>
              <a:spLocks/>
            </p:cNvSpPr>
            <p:nvPr/>
          </p:nvSpPr>
          <p:spPr bwMode="auto">
            <a:xfrm>
              <a:off x="2698" y="2449"/>
              <a:ext cx="27" cy="15"/>
            </a:xfrm>
            <a:custGeom>
              <a:avLst/>
              <a:gdLst>
                <a:gd name="T0" fmla="*/ 0 w 112"/>
                <a:gd name="T1" fmla="*/ 0 h 62"/>
                <a:gd name="T2" fmla="*/ 3 w 112"/>
                <a:gd name="T3" fmla="*/ 0 h 62"/>
                <a:gd name="T4" fmla="*/ 7 w 112"/>
                <a:gd name="T5" fmla="*/ 2 h 62"/>
                <a:gd name="T6" fmla="*/ 5 w 112"/>
                <a:gd name="T7" fmla="*/ 4 h 62"/>
                <a:gd name="T8" fmla="*/ 3 w 112"/>
                <a:gd name="T9" fmla="*/ 4 h 62"/>
                <a:gd name="T10" fmla="*/ 1 w 112"/>
                <a:gd name="T11" fmla="*/ 3 h 62"/>
                <a:gd name="T12" fmla="*/ 2 w 112"/>
                <a:gd name="T13" fmla="*/ 2 h 62"/>
                <a:gd name="T14" fmla="*/ 0 w 112"/>
                <a:gd name="T15" fmla="*/ 2 h 62"/>
                <a:gd name="T16" fmla="*/ 0 w 112"/>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62"/>
                <a:gd name="T29" fmla="*/ 112 w 112"/>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62">
                  <a:moveTo>
                    <a:pt x="1" y="0"/>
                  </a:moveTo>
                  <a:lnTo>
                    <a:pt x="57" y="3"/>
                  </a:lnTo>
                  <a:lnTo>
                    <a:pt x="112" y="34"/>
                  </a:lnTo>
                  <a:lnTo>
                    <a:pt x="82" y="62"/>
                  </a:lnTo>
                  <a:lnTo>
                    <a:pt x="54" y="60"/>
                  </a:lnTo>
                  <a:lnTo>
                    <a:pt x="26" y="59"/>
                  </a:lnTo>
                  <a:lnTo>
                    <a:pt x="28" y="30"/>
                  </a:lnTo>
                  <a:lnTo>
                    <a:pt x="0" y="29"/>
                  </a:lnTo>
                  <a:lnTo>
                    <a:pt x="1" y="0"/>
                  </a:lnTo>
                  <a:close/>
                </a:path>
              </a:pathLst>
            </a:custGeom>
            <a:solidFill>
              <a:srgbClr val="B2C2D1"/>
            </a:solidFill>
            <a:ln w="9525">
              <a:noFill/>
              <a:round/>
              <a:headEnd/>
              <a:tailEnd/>
            </a:ln>
          </p:spPr>
          <p:txBody>
            <a:bodyPr/>
            <a:lstStyle/>
            <a:p>
              <a:endParaRPr lang="el-GR"/>
            </a:p>
          </p:txBody>
        </p:sp>
        <p:sp>
          <p:nvSpPr>
            <p:cNvPr id="151" name="Freeform 28"/>
            <p:cNvSpPr>
              <a:spLocks/>
            </p:cNvSpPr>
            <p:nvPr/>
          </p:nvSpPr>
          <p:spPr bwMode="auto">
            <a:xfrm>
              <a:off x="2698" y="2449"/>
              <a:ext cx="27" cy="15"/>
            </a:xfrm>
            <a:custGeom>
              <a:avLst/>
              <a:gdLst>
                <a:gd name="T0" fmla="*/ 0 w 112"/>
                <a:gd name="T1" fmla="*/ 0 h 62"/>
                <a:gd name="T2" fmla="*/ 3 w 112"/>
                <a:gd name="T3" fmla="*/ 0 h 62"/>
                <a:gd name="T4" fmla="*/ 7 w 112"/>
                <a:gd name="T5" fmla="*/ 2 h 62"/>
                <a:gd name="T6" fmla="*/ 5 w 112"/>
                <a:gd name="T7" fmla="*/ 4 h 62"/>
                <a:gd name="T8" fmla="*/ 3 w 112"/>
                <a:gd name="T9" fmla="*/ 4 h 62"/>
                <a:gd name="T10" fmla="*/ 1 w 112"/>
                <a:gd name="T11" fmla="*/ 3 h 62"/>
                <a:gd name="T12" fmla="*/ 2 w 112"/>
                <a:gd name="T13" fmla="*/ 2 h 62"/>
                <a:gd name="T14" fmla="*/ 0 w 112"/>
                <a:gd name="T15" fmla="*/ 2 h 62"/>
                <a:gd name="T16" fmla="*/ 0 w 112"/>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62"/>
                <a:gd name="T29" fmla="*/ 112 w 112"/>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62">
                  <a:moveTo>
                    <a:pt x="1" y="0"/>
                  </a:moveTo>
                  <a:lnTo>
                    <a:pt x="57" y="3"/>
                  </a:lnTo>
                  <a:lnTo>
                    <a:pt x="112" y="34"/>
                  </a:lnTo>
                  <a:lnTo>
                    <a:pt x="82" y="62"/>
                  </a:lnTo>
                  <a:lnTo>
                    <a:pt x="54" y="60"/>
                  </a:lnTo>
                  <a:lnTo>
                    <a:pt x="26" y="59"/>
                  </a:lnTo>
                  <a:lnTo>
                    <a:pt x="28" y="30"/>
                  </a:lnTo>
                  <a:lnTo>
                    <a:pt x="0" y="29"/>
                  </a:lnTo>
                  <a:lnTo>
                    <a:pt x="1" y="0"/>
                  </a:lnTo>
                </a:path>
              </a:pathLst>
            </a:custGeom>
            <a:solidFill>
              <a:srgbClr val="B2C2D1"/>
            </a:solidFill>
            <a:ln w="9525">
              <a:noFill/>
              <a:round/>
              <a:headEnd/>
              <a:tailEnd/>
            </a:ln>
          </p:spPr>
          <p:txBody>
            <a:bodyPr/>
            <a:lstStyle/>
            <a:p>
              <a:endParaRPr lang="el-GR"/>
            </a:p>
          </p:txBody>
        </p:sp>
        <p:sp>
          <p:nvSpPr>
            <p:cNvPr id="152" name="Freeform 29"/>
            <p:cNvSpPr>
              <a:spLocks/>
            </p:cNvSpPr>
            <p:nvPr/>
          </p:nvSpPr>
          <p:spPr bwMode="auto">
            <a:xfrm>
              <a:off x="2313" y="2625"/>
              <a:ext cx="14" cy="28"/>
            </a:xfrm>
            <a:custGeom>
              <a:avLst/>
              <a:gdLst>
                <a:gd name="T0" fmla="*/ 0 w 58"/>
                <a:gd name="T1" fmla="*/ 7 h 116"/>
                <a:gd name="T2" fmla="*/ 2 w 58"/>
                <a:gd name="T3" fmla="*/ 3 h 116"/>
                <a:gd name="T4" fmla="*/ 3 w 58"/>
                <a:gd name="T5" fmla="*/ 2 h 116"/>
                <a:gd name="T6" fmla="*/ 0 w 58"/>
                <a:gd name="T7" fmla="*/ 0 h 116"/>
                <a:gd name="T8" fmla="*/ 0 w 58"/>
                <a:gd name="T9" fmla="*/ 3 h 116"/>
                <a:gd name="T10" fmla="*/ 0 w 58"/>
                <a:gd name="T11" fmla="*/ 5 h 116"/>
                <a:gd name="T12" fmla="*/ 0 w 58"/>
                <a:gd name="T13" fmla="*/ 7 h 116"/>
                <a:gd name="T14" fmla="*/ 0 60000 65536"/>
                <a:gd name="T15" fmla="*/ 0 60000 65536"/>
                <a:gd name="T16" fmla="*/ 0 60000 65536"/>
                <a:gd name="T17" fmla="*/ 0 60000 65536"/>
                <a:gd name="T18" fmla="*/ 0 60000 65536"/>
                <a:gd name="T19" fmla="*/ 0 60000 65536"/>
                <a:gd name="T20" fmla="*/ 0 60000 65536"/>
                <a:gd name="T21" fmla="*/ 0 w 58"/>
                <a:gd name="T22" fmla="*/ 0 h 116"/>
                <a:gd name="T23" fmla="*/ 58 w 58"/>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16">
                  <a:moveTo>
                    <a:pt x="0" y="116"/>
                  </a:moveTo>
                  <a:lnTo>
                    <a:pt x="29" y="60"/>
                  </a:lnTo>
                  <a:lnTo>
                    <a:pt x="58" y="31"/>
                  </a:lnTo>
                  <a:lnTo>
                    <a:pt x="5" y="0"/>
                  </a:lnTo>
                  <a:lnTo>
                    <a:pt x="2" y="58"/>
                  </a:lnTo>
                  <a:lnTo>
                    <a:pt x="1" y="87"/>
                  </a:lnTo>
                  <a:lnTo>
                    <a:pt x="0" y="116"/>
                  </a:lnTo>
                  <a:close/>
                </a:path>
              </a:pathLst>
            </a:custGeom>
            <a:solidFill>
              <a:srgbClr val="B2C2D1"/>
            </a:solidFill>
            <a:ln w="9525">
              <a:noFill/>
              <a:round/>
              <a:headEnd/>
              <a:tailEnd/>
            </a:ln>
          </p:spPr>
          <p:txBody>
            <a:bodyPr/>
            <a:lstStyle/>
            <a:p>
              <a:endParaRPr lang="el-GR"/>
            </a:p>
          </p:txBody>
        </p:sp>
        <p:sp>
          <p:nvSpPr>
            <p:cNvPr id="153" name="Freeform 30"/>
            <p:cNvSpPr>
              <a:spLocks/>
            </p:cNvSpPr>
            <p:nvPr/>
          </p:nvSpPr>
          <p:spPr bwMode="auto">
            <a:xfrm>
              <a:off x="2313" y="2625"/>
              <a:ext cx="14" cy="28"/>
            </a:xfrm>
            <a:custGeom>
              <a:avLst/>
              <a:gdLst>
                <a:gd name="T0" fmla="*/ 0 w 58"/>
                <a:gd name="T1" fmla="*/ 7 h 116"/>
                <a:gd name="T2" fmla="*/ 2 w 58"/>
                <a:gd name="T3" fmla="*/ 3 h 116"/>
                <a:gd name="T4" fmla="*/ 3 w 58"/>
                <a:gd name="T5" fmla="*/ 2 h 116"/>
                <a:gd name="T6" fmla="*/ 0 w 58"/>
                <a:gd name="T7" fmla="*/ 0 h 116"/>
                <a:gd name="T8" fmla="*/ 0 w 58"/>
                <a:gd name="T9" fmla="*/ 3 h 116"/>
                <a:gd name="T10" fmla="*/ 0 w 58"/>
                <a:gd name="T11" fmla="*/ 5 h 116"/>
                <a:gd name="T12" fmla="*/ 0 w 58"/>
                <a:gd name="T13" fmla="*/ 7 h 116"/>
                <a:gd name="T14" fmla="*/ 0 60000 65536"/>
                <a:gd name="T15" fmla="*/ 0 60000 65536"/>
                <a:gd name="T16" fmla="*/ 0 60000 65536"/>
                <a:gd name="T17" fmla="*/ 0 60000 65536"/>
                <a:gd name="T18" fmla="*/ 0 60000 65536"/>
                <a:gd name="T19" fmla="*/ 0 60000 65536"/>
                <a:gd name="T20" fmla="*/ 0 60000 65536"/>
                <a:gd name="T21" fmla="*/ 0 w 58"/>
                <a:gd name="T22" fmla="*/ 0 h 116"/>
                <a:gd name="T23" fmla="*/ 58 w 58"/>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16">
                  <a:moveTo>
                    <a:pt x="0" y="116"/>
                  </a:moveTo>
                  <a:lnTo>
                    <a:pt x="29" y="60"/>
                  </a:lnTo>
                  <a:lnTo>
                    <a:pt x="58" y="31"/>
                  </a:lnTo>
                  <a:lnTo>
                    <a:pt x="5" y="0"/>
                  </a:lnTo>
                  <a:lnTo>
                    <a:pt x="2" y="58"/>
                  </a:lnTo>
                  <a:lnTo>
                    <a:pt x="1" y="87"/>
                  </a:lnTo>
                  <a:lnTo>
                    <a:pt x="0" y="116"/>
                  </a:lnTo>
                </a:path>
              </a:pathLst>
            </a:custGeom>
            <a:solidFill>
              <a:srgbClr val="B2C2D1"/>
            </a:solidFill>
            <a:ln w="9525">
              <a:noFill/>
              <a:round/>
              <a:headEnd/>
              <a:tailEnd/>
            </a:ln>
          </p:spPr>
          <p:txBody>
            <a:bodyPr/>
            <a:lstStyle/>
            <a:p>
              <a:endParaRPr lang="el-GR"/>
            </a:p>
          </p:txBody>
        </p:sp>
        <p:sp>
          <p:nvSpPr>
            <p:cNvPr id="154" name="Freeform 31"/>
            <p:cNvSpPr>
              <a:spLocks/>
            </p:cNvSpPr>
            <p:nvPr/>
          </p:nvSpPr>
          <p:spPr bwMode="auto">
            <a:xfrm>
              <a:off x="2294" y="2610"/>
              <a:ext cx="14" cy="28"/>
            </a:xfrm>
            <a:custGeom>
              <a:avLst/>
              <a:gdLst>
                <a:gd name="T0" fmla="*/ 0 w 59"/>
                <a:gd name="T1" fmla="*/ 0 h 116"/>
                <a:gd name="T2" fmla="*/ 2 w 59"/>
                <a:gd name="T3" fmla="*/ 2 h 116"/>
                <a:gd name="T4" fmla="*/ 3 w 59"/>
                <a:gd name="T5" fmla="*/ 2 h 116"/>
                <a:gd name="T6" fmla="*/ 3 w 59"/>
                <a:gd name="T7" fmla="*/ 4 h 116"/>
                <a:gd name="T8" fmla="*/ 2 w 59"/>
                <a:gd name="T9" fmla="*/ 3 h 116"/>
                <a:gd name="T10" fmla="*/ 0 w 59"/>
                <a:gd name="T11" fmla="*/ 7 h 116"/>
                <a:gd name="T12" fmla="*/ 0 w 59"/>
                <a:gd name="T13" fmla="*/ 5 h 116"/>
                <a:gd name="T14" fmla="*/ 0 w 59"/>
                <a:gd name="T15" fmla="*/ 3 h 116"/>
                <a:gd name="T16" fmla="*/ 0 w 59"/>
                <a:gd name="T17" fmla="*/ 0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16"/>
                <a:gd name="T29" fmla="*/ 59 w 59"/>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16">
                  <a:moveTo>
                    <a:pt x="6" y="0"/>
                  </a:moveTo>
                  <a:lnTo>
                    <a:pt x="32" y="31"/>
                  </a:lnTo>
                  <a:lnTo>
                    <a:pt x="59" y="32"/>
                  </a:lnTo>
                  <a:lnTo>
                    <a:pt x="57" y="61"/>
                  </a:lnTo>
                  <a:lnTo>
                    <a:pt x="30" y="60"/>
                  </a:lnTo>
                  <a:lnTo>
                    <a:pt x="0" y="116"/>
                  </a:lnTo>
                  <a:lnTo>
                    <a:pt x="1" y="87"/>
                  </a:lnTo>
                  <a:lnTo>
                    <a:pt x="3" y="58"/>
                  </a:lnTo>
                  <a:lnTo>
                    <a:pt x="6" y="0"/>
                  </a:lnTo>
                  <a:close/>
                </a:path>
              </a:pathLst>
            </a:custGeom>
            <a:solidFill>
              <a:srgbClr val="B2C2D1"/>
            </a:solidFill>
            <a:ln w="9525">
              <a:noFill/>
              <a:round/>
              <a:headEnd/>
              <a:tailEnd/>
            </a:ln>
          </p:spPr>
          <p:txBody>
            <a:bodyPr/>
            <a:lstStyle/>
            <a:p>
              <a:endParaRPr lang="el-GR"/>
            </a:p>
          </p:txBody>
        </p:sp>
        <p:sp>
          <p:nvSpPr>
            <p:cNvPr id="155" name="Freeform 32"/>
            <p:cNvSpPr>
              <a:spLocks/>
            </p:cNvSpPr>
            <p:nvPr/>
          </p:nvSpPr>
          <p:spPr bwMode="auto">
            <a:xfrm>
              <a:off x="2294" y="2610"/>
              <a:ext cx="14" cy="28"/>
            </a:xfrm>
            <a:custGeom>
              <a:avLst/>
              <a:gdLst>
                <a:gd name="T0" fmla="*/ 0 w 59"/>
                <a:gd name="T1" fmla="*/ 0 h 116"/>
                <a:gd name="T2" fmla="*/ 2 w 59"/>
                <a:gd name="T3" fmla="*/ 2 h 116"/>
                <a:gd name="T4" fmla="*/ 3 w 59"/>
                <a:gd name="T5" fmla="*/ 2 h 116"/>
                <a:gd name="T6" fmla="*/ 3 w 59"/>
                <a:gd name="T7" fmla="*/ 4 h 116"/>
                <a:gd name="T8" fmla="*/ 2 w 59"/>
                <a:gd name="T9" fmla="*/ 3 h 116"/>
                <a:gd name="T10" fmla="*/ 0 w 59"/>
                <a:gd name="T11" fmla="*/ 7 h 116"/>
                <a:gd name="T12" fmla="*/ 0 w 59"/>
                <a:gd name="T13" fmla="*/ 5 h 116"/>
                <a:gd name="T14" fmla="*/ 0 w 59"/>
                <a:gd name="T15" fmla="*/ 3 h 116"/>
                <a:gd name="T16" fmla="*/ 0 w 59"/>
                <a:gd name="T17" fmla="*/ 0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16"/>
                <a:gd name="T29" fmla="*/ 59 w 59"/>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16">
                  <a:moveTo>
                    <a:pt x="6" y="0"/>
                  </a:moveTo>
                  <a:lnTo>
                    <a:pt x="32" y="31"/>
                  </a:lnTo>
                  <a:lnTo>
                    <a:pt x="59" y="32"/>
                  </a:lnTo>
                  <a:lnTo>
                    <a:pt x="57" y="61"/>
                  </a:lnTo>
                  <a:lnTo>
                    <a:pt x="30" y="60"/>
                  </a:lnTo>
                  <a:lnTo>
                    <a:pt x="0" y="116"/>
                  </a:lnTo>
                  <a:lnTo>
                    <a:pt x="1" y="87"/>
                  </a:lnTo>
                  <a:lnTo>
                    <a:pt x="3" y="58"/>
                  </a:lnTo>
                  <a:lnTo>
                    <a:pt x="6" y="0"/>
                  </a:lnTo>
                </a:path>
              </a:pathLst>
            </a:custGeom>
            <a:solidFill>
              <a:srgbClr val="B2C2D1"/>
            </a:solidFill>
            <a:ln w="9525">
              <a:noFill/>
              <a:round/>
              <a:headEnd/>
              <a:tailEnd/>
            </a:ln>
          </p:spPr>
          <p:txBody>
            <a:bodyPr/>
            <a:lstStyle/>
            <a:p>
              <a:endParaRPr lang="el-GR"/>
            </a:p>
          </p:txBody>
        </p:sp>
        <p:sp>
          <p:nvSpPr>
            <p:cNvPr id="156" name="Freeform 33"/>
            <p:cNvSpPr>
              <a:spLocks/>
            </p:cNvSpPr>
            <p:nvPr/>
          </p:nvSpPr>
          <p:spPr bwMode="auto">
            <a:xfrm>
              <a:off x="2626" y="2789"/>
              <a:ext cx="59" cy="100"/>
            </a:xfrm>
            <a:custGeom>
              <a:avLst/>
              <a:gdLst>
                <a:gd name="T0" fmla="*/ 11 w 248"/>
                <a:gd name="T1" fmla="*/ 9 h 419"/>
                <a:gd name="T2" fmla="*/ 14 w 248"/>
                <a:gd name="T3" fmla="*/ 12 h 419"/>
                <a:gd name="T4" fmla="*/ 14 w 248"/>
                <a:gd name="T5" fmla="*/ 16 h 419"/>
                <a:gd name="T6" fmla="*/ 12 w 248"/>
                <a:gd name="T7" fmla="*/ 16 h 419"/>
                <a:gd name="T8" fmla="*/ 11 w 248"/>
                <a:gd name="T9" fmla="*/ 16 h 419"/>
                <a:gd name="T10" fmla="*/ 10 w 248"/>
                <a:gd name="T11" fmla="*/ 21 h 419"/>
                <a:gd name="T12" fmla="*/ 10 w 248"/>
                <a:gd name="T13" fmla="*/ 22 h 419"/>
                <a:gd name="T14" fmla="*/ 10 w 248"/>
                <a:gd name="T15" fmla="*/ 24 h 419"/>
                <a:gd name="T16" fmla="*/ 9 w 248"/>
                <a:gd name="T17" fmla="*/ 22 h 419"/>
                <a:gd name="T18" fmla="*/ 7 w 248"/>
                <a:gd name="T19" fmla="*/ 22 h 419"/>
                <a:gd name="T20" fmla="*/ 5 w 248"/>
                <a:gd name="T21" fmla="*/ 22 h 419"/>
                <a:gd name="T22" fmla="*/ 4 w 248"/>
                <a:gd name="T23" fmla="*/ 20 h 419"/>
                <a:gd name="T24" fmla="*/ 2 w 248"/>
                <a:gd name="T25" fmla="*/ 20 h 419"/>
                <a:gd name="T26" fmla="*/ 1 w 248"/>
                <a:gd name="T27" fmla="*/ 17 h 419"/>
                <a:gd name="T28" fmla="*/ 1 w 248"/>
                <a:gd name="T29" fmla="*/ 15 h 419"/>
                <a:gd name="T30" fmla="*/ 1 w 248"/>
                <a:gd name="T31" fmla="*/ 13 h 419"/>
                <a:gd name="T32" fmla="*/ 1 w 248"/>
                <a:gd name="T33" fmla="*/ 12 h 419"/>
                <a:gd name="T34" fmla="*/ 1 w 248"/>
                <a:gd name="T35" fmla="*/ 10 h 419"/>
                <a:gd name="T36" fmla="*/ 1 w 248"/>
                <a:gd name="T37" fmla="*/ 8 h 419"/>
                <a:gd name="T38" fmla="*/ 0 w 248"/>
                <a:gd name="T39" fmla="*/ 5 h 419"/>
                <a:gd name="T40" fmla="*/ 2 w 248"/>
                <a:gd name="T41" fmla="*/ 0 h 419"/>
                <a:gd name="T42" fmla="*/ 5 w 248"/>
                <a:gd name="T43" fmla="*/ 0 h 419"/>
                <a:gd name="T44" fmla="*/ 8 w 248"/>
                <a:gd name="T45" fmla="*/ 7 h 419"/>
                <a:gd name="T46" fmla="*/ 11 w 248"/>
                <a:gd name="T47" fmla="*/ 9 h 4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8"/>
                <a:gd name="T73" fmla="*/ 0 h 419"/>
                <a:gd name="T74" fmla="*/ 248 w 248"/>
                <a:gd name="T75" fmla="*/ 419 h 4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8" h="419">
                  <a:moveTo>
                    <a:pt x="195" y="156"/>
                  </a:moveTo>
                  <a:lnTo>
                    <a:pt x="248" y="218"/>
                  </a:lnTo>
                  <a:lnTo>
                    <a:pt x="246" y="276"/>
                  </a:lnTo>
                  <a:lnTo>
                    <a:pt x="217" y="274"/>
                  </a:lnTo>
                  <a:lnTo>
                    <a:pt x="189" y="273"/>
                  </a:lnTo>
                  <a:lnTo>
                    <a:pt x="184" y="361"/>
                  </a:lnTo>
                  <a:lnTo>
                    <a:pt x="182" y="390"/>
                  </a:lnTo>
                  <a:lnTo>
                    <a:pt x="181" y="419"/>
                  </a:lnTo>
                  <a:lnTo>
                    <a:pt x="154" y="389"/>
                  </a:lnTo>
                  <a:lnTo>
                    <a:pt x="126" y="387"/>
                  </a:lnTo>
                  <a:lnTo>
                    <a:pt x="98" y="386"/>
                  </a:lnTo>
                  <a:lnTo>
                    <a:pt x="71" y="355"/>
                  </a:lnTo>
                  <a:lnTo>
                    <a:pt x="43" y="353"/>
                  </a:lnTo>
                  <a:lnTo>
                    <a:pt x="18" y="294"/>
                  </a:lnTo>
                  <a:lnTo>
                    <a:pt x="19" y="265"/>
                  </a:lnTo>
                  <a:lnTo>
                    <a:pt x="21" y="235"/>
                  </a:lnTo>
                  <a:lnTo>
                    <a:pt x="22" y="206"/>
                  </a:lnTo>
                  <a:lnTo>
                    <a:pt x="24" y="177"/>
                  </a:lnTo>
                  <a:lnTo>
                    <a:pt x="25" y="147"/>
                  </a:lnTo>
                  <a:lnTo>
                    <a:pt x="0" y="87"/>
                  </a:lnTo>
                  <a:lnTo>
                    <a:pt x="33" y="0"/>
                  </a:lnTo>
                  <a:lnTo>
                    <a:pt x="89" y="4"/>
                  </a:lnTo>
                  <a:lnTo>
                    <a:pt x="140" y="124"/>
                  </a:lnTo>
                  <a:lnTo>
                    <a:pt x="195" y="156"/>
                  </a:lnTo>
                  <a:close/>
                </a:path>
              </a:pathLst>
            </a:custGeom>
            <a:solidFill>
              <a:srgbClr val="B2C2D1"/>
            </a:solidFill>
            <a:ln w="9525">
              <a:noFill/>
              <a:round/>
              <a:headEnd/>
              <a:tailEnd/>
            </a:ln>
          </p:spPr>
          <p:txBody>
            <a:bodyPr/>
            <a:lstStyle/>
            <a:p>
              <a:endParaRPr lang="el-GR"/>
            </a:p>
          </p:txBody>
        </p:sp>
        <p:sp>
          <p:nvSpPr>
            <p:cNvPr id="157" name="Freeform 34"/>
            <p:cNvSpPr>
              <a:spLocks/>
            </p:cNvSpPr>
            <p:nvPr/>
          </p:nvSpPr>
          <p:spPr bwMode="auto">
            <a:xfrm>
              <a:off x="2626" y="2789"/>
              <a:ext cx="59" cy="100"/>
            </a:xfrm>
            <a:custGeom>
              <a:avLst/>
              <a:gdLst>
                <a:gd name="T0" fmla="*/ 11 w 248"/>
                <a:gd name="T1" fmla="*/ 9 h 419"/>
                <a:gd name="T2" fmla="*/ 14 w 248"/>
                <a:gd name="T3" fmla="*/ 12 h 419"/>
                <a:gd name="T4" fmla="*/ 14 w 248"/>
                <a:gd name="T5" fmla="*/ 16 h 419"/>
                <a:gd name="T6" fmla="*/ 12 w 248"/>
                <a:gd name="T7" fmla="*/ 16 h 419"/>
                <a:gd name="T8" fmla="*/ 11 w 248"/>
                <a:gd name="T9" fmla="*/ 16 h 419"/>
                <a:gd name="T10" fmla="*/ 10 w 248"/>
                <a:gd name="T11" fmla="*/ 21 h 419"/>
                <a:gd name="T12" fmla="*/ 10 w 248"/>
                <a:gd name="T13" fmla="*/ 22 h 419"/>
                <a:gd name="T14" fmla="*/ 10 w 248"/>
                <a:gd name="T15" fmla="*/ 24 h 419"/>
                <a:gd name="T16" fmla="*/ 9 w 248"/>
                <a:gd name="T17" fmla="*/ 22 h 419"/>
                <a:gd name="T18" fmla="*/ 7 w 248"/>
                <a:gd name="T19" fmla="*/ 22 h 419"/>
                <a:gd name="T20" fmla="*/ 5 w 248"/>
                <a:gd name="T21" fmla="*/ 22 h 419"/>
                <a:gd name="T22" fmla="*/ 4 w 248"/>
                <a:gd name="T23" fmla="*/ 20 h 419"/>
                <a:gd name="T24" fmla="*/ 2 w 248"/>
                <a:gd name="T25" fmla="*/ 20 h 419"/>
                <a:gd name="T26" fmla="*/ 1 w 248"/>
                <a:gd name="T27" fmla="*/ 17 h 419"/>
                <a:gd name="T28" fmla="*/ 1 w 248"/>
                <a:gd name="T29" fmla="*/ 15 h 419"/>
                <a:gd name="T30" fmla="*/ 1 w 248"/>
                <a:gd name="T31" fmla="*/ 13 h 419"/>
                <a:gd name="T32" fmla="*/ 1 w 248"/>
                <a:gd name="T33" fmla="*/ 12 h 419"/>
                <a:gd name="T34" fmla="*/ 1 w 248"/>
                <a:gd name="T35" fmla="*/ 10 h 419"/>
                <a:gd name="T36" fmla="*/ 1 w 248"/>
                <a:gd name="T37" fmla="*/ 8 h 419"/>
                <a:gd name="T38" fmla="*/ 0 w 248"/>
                <a:gd name="T39" fmla="*/ 5 h 419"/>
                <a:gd name="T40" fmla="*/ 2 w 248"/>
                <a:gd name="T41" fmla="*/ 0 h 419"/>
                <a:gd name="T42" fmla="*/ 5 w 248"/>
                <a:gd name="T43" fmla="*/ 0 h 419"/>
                <a:gd name="T44" fmla="*/ 8 w 248"/>
                <a:gd name="T45" fmla="*/ 7 h 419"/>
                <a:gd name="T46" fmla="*/ 11 w 248"/>
                <a:gd name="T47" fmla="*/ 9 h 41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48"/>
                <a:gd name="T73" fmla="*/ 0 h 419"/>
                <a:gd name="T74" fmla="*/ 248 w 248"/>
                <a:gd name="T75" fmla="*/ 419 h 41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48" h="419">
                  <a:moveTo>
                    <a:pt x="195" y="156"/>
                  </a:moveTo>
                  <a:lnTo>
                    <a:pt x="248" y="218"/>
                  </a:lnTo>
                  <a:lnTo>
                    <a:pt x="246" y="276"/>
                  </a:lnTo>
                  <a:lnTo>
                    <a:pt x="217" y="274"/>
                  </a:lnTo>
                  <a:lnTo>
                    <a:pt x="189" y="273"/>
                  </a:lnTo>
                  <a:lnTo>
                    <a:pt x="184" y="361"/>
                  </a:lnTo>
                  <a:lnTo>
                    <a:pt x="182" y="390"/>
                  </a:lnTo>
                  <a:lnTo>
                    <a:pt x="181" y="419"/>
                  </a:lnTo>
                  <a:lnTo>
                    <a:pt x="154" y="389"/>
                  </a:lnTo>
                  <a:lnTo>
                    <a:pt x="126" y="387"/>
                  </a:lnTo>
                  <a:lnTo>
                    <a:pt x="98" y="386"/>
                  </a:lnTo>
                  <a:lnTo>
                    <a:pt x="71" y="355"/>
                  </a:lnTo>
                  <a:lnTo>
                    <a:pt x="43" y="353"/>
                  </a:lnTo>
                  <a:lnTo>
                    <a:pt x="18" y="294"/>
                  </a:lnTo>
                  <a:lnTo>
                    <a:pt x="19" y="265"/>
                  </a:lnTo>
                  <a:lnTo>
                    <a:pt x="21" y="235"/>
                  </a:lnTo>
                  <a:lnTo>
                    <a:pt x="22" y="206"/>
                  </a:lnTo>
                  <a:lnTo>
                    <a:pt x="24" y="177"/>
                  </a:lnTo>
                  <a:lnTo>
                    <a:pt x="25" y="147"/>
                  </a:lnTo>
                  <a:lnTo>
                    <a:pt x="0" y="87"/>
                  </a:lnTo>
                  <a:lnTo>
                    <a:pt x="33" y="0"/>
                  </a:lnTo>
                  <a:lnTo>
                    <a:pt x="89" y="4"/>
                  </a:lnTo>
                  <a:lnTo>
                    <a:pt x="140" y="124"/>
                  </a:lnTo>
                  <a:lnTo>
                    <a:pt x="195" y="156"/>
                  </a:lnTo>
                </a:path>
              </a:pathLst>
            </a:custGeom>
            <a:solidFill>
              <a:srgbClr val="B2C2D1"/>
            </a:solidFill>
            <a:ln w="9525">
              <a:noFill/>
              <a:round/>
              <a:headEnd/>
              <a:tailEnd/>
            </a:ln>
          </p:spPr>
          <p:txBody>
            <a:bodyPr/>
            <a:lstStyle/>
            <a:p>
              <a:endParaRPr lang="el-GR"/>
            </a:p>
          </p:txBody>
        </p:sp>
        <p:sp>
          <p:nvSpPr>
            <p:cNvPr id="158" name="Freeform 35"/>
            <p:cNvSpPr>
              <a:spLocks/>
            </p:cNvSpPr>
            <p:nvPr/>
          </p:nvSpPr>
          <p:spPr bwMode="auto">
            <a:xfrm>
              <a:off x="2732" y="2314"/>
              <a:ext cx="84" cy="71"/>
            </a:xfrm>
            <a:custGeom>
              <a:avLst/>
              <a:gdLst>
                <a:gd name="T0" fmla="*/ 6 w 353"/>
                <a:gd name="T1" fmla="*/ 6 h 297"/>
                <a:gd name="T2" fmla="*/ 8 w 353"/>
                <a:gd name="T3" fmla="*/ 8 h 297"/>
                <a:gd name="T4" fmla="*/ 11 w 353"/>
                <a:gd name="T5" fmla="*/ 10 h 297"/>
                <a:gd name="T6" fmla="*/ 12 w 353"/>
                <a:gd name="T7" fmla="*/ 10 h 297"/>
                <a:gd name="T8" fmla="*/ 11 w 353"/>
                <a:gd name="T9" fmla="*/ 6 h 297"/>
                <a:gd name="T10" fmla="*/ 10 w 353"/>
                <a:gd name="T11" fmla="*/ 5 h 297"/>
                <a:gd name="T12" fmla="*/ 8 w 353"/>
                <a:gd name="T13" fmla="*/ 3 h 297"/>
                <a:gd name="T14" fmla="*/ 11 w 353"/>
                <a:gd name="T15" fmla="*/ 2 h 297"/>
                <a:gd name="T16" fmla="*/ 13 w 353"/>
                <a:gd name="T17" fmla="*/ 0 h 297"/>
                <a:gd name="T18" fmla="*/ 14 w 353"/>
                <a:gd name="T19" fmla="*/ 2 h 297"/>
                <a:gd name="T20" fmla="*/ 16 w 353"/>
                <a:gd name="T21" fmla="*/ 4 h 297"/>
                <a:gd name="T22" fmla="*/ 14 w 353"/>
                <a:gd name="T23" fmla="*/ 7 h 297"/>
                <a:gd name="T24" fmla="*/ 12 w 353"/>
                <a:gd name="T25" fmla="*/ 8 h 297"/>
                <a:gd name="T26" fmla="*/ 15 w 353"/>
                <a:gd name="T27" fmla="*/ 10 h 297"/>
                <a:gd name="T28" fmla="*/ 15 w 353"/>
                <a:gd name="T29" fmla="*/ 12 h 297"/>
                <a:gd name="T30" fmla="*/ 14 w 353"/>
                <a:gd name="T31" fmla="*/ 12 h 297"/>
                <a:gd name="T32" fmla="*/ 17 w 353"/>
                <a:gd name="T33" fmla="*/ 14 h 297"/>
                <a:gd name="T34" fmla="*/ 20 w 353"/>
                <a:gd name="T35" fmla="*/ 16 h 297"/>
                <a:gd name="T36" fmla="*/ 18 w 353"/>
                <a:gd name="T37" fmla="*/ 15 h 297"/>
                <a:gd name="T38" fmla="*/ 17 w 353"/>
                <a:gd name="T39" fmla="*/ 17 h 297"/>
                <a:gd name="T40" fmla="*/ 14 w 353"/>
                <a:gd name="T41" fmla="*/ 15 h 297"/>
                <a:gd name="T42" fmla="*/ 9 w 353"/>
                <a:gd name="T43" fmla="*/ 15 h 297"/>
                <a:gd name="T44" fmla="*/ 8 w 353"/>
                <a:gd name="T45" fmla="*/ 11 h 297"/>
                <a:gd name="T46" fmla="*/ 5 w 353"/>
                <a:gd name="T47" fmla="*/ 10 h 297"/>
                <a:gd name="T48" fmla="*/ 0 w 353"/>
                <a:gd name="T49" fmla="*/ 3 h 297"/>
                <a:gd name="T50" fmla="*/ 6 w 353"/>
                <a:gd name="T51" fmla="*/ 6 h 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3"/>
                <a:gd name="T79" fmla="*/ 0 h 297"/>
                <a:gd name="T80" fmla="*/ 353 w 353"/>
                <a:gd name="T81" fmla="*/ 297 h 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3" h="297">
                  <a:moveTo>
                    <a:pt x="110" y="111"/>
                  </a:moveTo>
                  <a:lnTo>
                    <a:pt x="136" y="141"/>
                  </a:lnTo>
                  <a:lnTo>
                    <a:pt x="191" y="174"/>
                  </a:lnTo>
                  <a:lnTo>
                    <a:pt x="218" y="175"/>
                  </a:lnTo>
                  <a:lnTo>
                    <a:pt x="193" y="115"/>
                  </a:lnTo>
                  <a:lnTo>
                    <a:pt x="167" y="84"/>
                  </a:lnTo>
                  <a:lnTo>
                    <a:pt x="141" y="54"/>
                  </a:lnTo>
                  <a:lnTo>
                    <a:pt x="199" y="28"/>
                  </a:lnTo>
                  <a:lnTo>
                    <a:pt x="228" y="0"/>
                  </a:lnTo>
                  <a:lnTo>
                    <a:pt x="254" y="30"/>
                  </a:lnTo>
                  <a:lnTo>
                    <a:pt x="281" y="61"/>
                  </a:lnTo>
                  <a:lnTo>
                    <a:pt x="249" y="119"/>
                  </a:lnTo>
                  <a:lnTo>
                    <a:pt x="220" y="146"/>
                  </a:lnTo>
                  <a:lnTo>
                    <a:pt x="274" y="178"/>
                  </a:lnTo>
                  <a:lnTo>
                    <a:pt x="273" y="207"/>
                  </a:lnTo>
                  <a:lnTo>
                    <a:pt x="245" y="206"/>
                  </a:lnTo>
                  <a:lnTo>
                    <a:pt x="299" y="239"/>
                  </a:lnTo>
                  <a:lnTo>
                    <a:pt x="353" y="271"/>
                  </a:lnTo>
                  <a:lnTo>
                    <a:pt x="325" y="269"/>
                  </a:lnTo>
                  <a:lnTo>
                    <a:pt x="296" y="297"/>
                  </a:lnTo>
                  <a:lnTo>
                    <a:pt x="242" y="265"/>
                  </a:lnTo>
                  <a:lnTo>
                    <a:pt x="157" y="260"/>
                  </a:lnTo>
                  <a:lnTo>
                    <a:pt x="133" y="200"/>
                  </a:lnTo>
                  <a:lnTo>
                    <a:pt x="78" y="168"/>
                  </a:lnTo>
                  <a:lnTo>
                    <a:pt x="0" y="46"/>
                  </a:lnTo>
                  <a:lnTo>
                    <a:pt x="110" y="111"/>
                  </a:lnTo>
                  <a:close/>
                </a:path>
              </a:pathLst>
            </a:custGeom>
            <a:solidFill>
              <a:srgbClr val="B2C2D1"/>
            </a:solidFill>
            <a:ln w="9525">
              <a:noFill/>
              <a:round/>
              <a:headEnd/>
              <a:tailEnd/>
            </a:ln>
          </p:spPr>
          <p:txBody>
            <a:bodyPr/>
            <a:lstStyle/>
            <a:p>
              <a:endParaRPr lang="el-GR"/>
            </a:p>
          </p:txBody>
        </p:sp>
        <p:sp>
          <p:nvSpPr>
            <p:cNvPr id="159" name="Freeform 36"/>
            <p:cNvSpPr>
              <a:spLocks/>
            </p:cNvSpPr>
            <p:nvPr/>
          </p:nvSpPr>
          <p:spPr bwMode="auto">
            <a:xfrm>
              <a:off x="2732" y="2314"/>
              <a:ext cx="84" cy="71"/>
            </a:xfrm>
            <a:custGeom>
              <a:avLst/>
              <a:gdLst>
                <a:gd name="T0" fmla="*/ 6 w 353"/>
                <a:gd name="T1" fmla="*/ 6 h 297"/>
                <a:gd name="T2" fmla="*/ 8 w 353"/>
                <a:gd name="T3" fmla="*/ 8 h 297"/>
                <a:gd name="T4" fmla="*/ 11 w 353"/>
                <a:gd name="T5" fmla="*/ 10 h 297"/>
                <a:gd name="T6" fmla="*/ 12 w 353"/>
                <a:gd name="T7" fmla="*/ 10 h 297"/>
                <a:gd name="T8" fmla="*/ 11 w 353"/>
                <a:gd name="T9" fmla="*/ 6 h 297"/>
                <a:gd name="T10" fmla="*/ 10 w 353"/>
                <a:gd name="T11" fmla="*/ 5 h 297"/>
                <a:gd name="T12" fmla="*/ 8 w 353"/>
                <a:gd name="T13" fmla="*/ 3 h 297"/>
                <a:gd name="T14" fmla="*/ 11 w 353"/>
                <a:gd name="T15" fmla="*/ 2 h 297"/>
                <a:gd name="T16" fmla="*/ 13 w 353"/>
                <a:gd name="T17" fmla="*/ 0 h 297"/>
                <a:gd name="T18" fmla="*/ 14 w 353"/>
                <a:gd name="T19" fmla="*/ 2 h 297"/>
                <a:gd name="T20" fmla="*/ 16 w 353"/>
                <a:gd name="T21" fmla="*/ 4 h 297"/>
                <a:gd name="T22" fmla="*/ 14 w 353"/>
                <a:gd name="T23" fmla="*/ 7 h 297"/>
                <a:gd name="T24" fmla="*/ 12 w 353"/>
                <a:gd name="T25" fmla="*/ 8 h 297"/>
                <a:gd name="T26" fmla="*/ 15 w 353"/>
                <a:gd name="T27" fmla="*/ 10 h 297"/>
                <a:gd name="T28" fmla="*/ 15 w 353"/>
                <a:gd name="T29" fmla="*/ 12 h 297"/>
                <a:gd name="T30" fmla="*/ 14 w 353"/>
                <a:gd name="T31" fmla="*/ 12 h 297"/>
                <a:gd name="T32" fmla="*/ 17 w 353"/>
                <a:gd name="T33" fmla="*/ 14 h 297"/>
                <a:gd name="T34" fmla="*/ 20 w 353"/>
                <a:gd name="T35" fmla="*/ 16 h 297"/>
                <a:gd name="T36" fmla="*/ 18 w 353"/>
                <a:gd name="T37" fmla="*/ 15 h 297"/>
                <a:gd name="T38" fmla="*/ 17 w 353"/>
                <a:gd name="T39" fmla="*/ 17 h 297"/>
                <a:gd name="T40" fmla="*/ 14 w 353"/>
                <a:gd name="T41" fmla="*/ 15 h 297"/>
                <a:gd name="T42" fmla="*/ 9 w 353"/>
                <a:gd name="T43" fmla="*/ 15 h 297"/>
                <a:gd name="T44" fmla="*/ 8 w 353"/>
                <a:gd name="T45" fmla="*/ 11 h 297"/>
                <a:gd name="T46" fmla="*/ 5 w 353"/>
                <a:gd name="T47" fmla="*/ 10 h 297"/>
                <a:gd name="T48" fmla="*/ 0 w 353"/>
                <a:gd name="T49" fmla="*/ 3 h 297"/>
                <a:gd name="T50" fmla="*/ 6 w 353"/>
                <a:gd name="T51" fmla="*/ 6 h 29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53"/>
                <a:gd name="T79" fmla="*/ 0 h 297"/>
                <a:gd name="T80" fmla="*/ 353 w 353"/>
                <a:gd name="T81" fmla="*/ 297 h 29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53" h="297">
                  <a:moveTo>
                    <a:pt x="110" y="111"/>
                  </a:moveTo>
                  <a:lnTo>
                    <a:pt x="136" y="141"/>
                  </a:lnTo>
                  <a:lnTo>
                    <a:pt x="191" y="174"/>
                  </a:lnTo>
                  <a:lnTo>
                    <a:pt x="218" y="175"/>
                  </a:lnTo>
                  <a:lnTo>
                    <a:pt x="193" y="115"/>
                  </a:lnTo>
                  <a:lnTo>
                    <a:pt x="167" y="84"/>
                  </a:lnTo>
                  <a:lnTo>
                    <a:pt x="141" y="54"/>
                  </a:lnTo>
                  <a:lnTo>
                    <a:pt x="199" y="28"/>
                  </a:lnTo>
                  <a:lnTo>
                    <a:pt x="228" y="0"/>
                  </a:lnTo>
                  <a:lnTo>
                    <a:pt x="254" y="30"/>
                  </a:lnTo>
                  <a:lnTo>
                    <a:pt x="281" y="61"/>
                  </a:lnTo>
                  <a:lnTo>
                    <a:pt x="249" y="119"/>
                  </a:lnTo>
                  <a:lnTo>
                    <a:pt x="220" y="146"/>
                  </a:lnTo>
                  <a:lnTo>
                    <a:pt x="274" y="178"/>
                  </a:lnTo>
                  <a:lnTo>
                    <a:pt x="273" y="207"/>
                  </a:lnTo>
                  <a:lnTo>
                    <a:pt x="245" y="206"/>
                  </a:lnTo>
                  <a:lnTo>
                    <a:pt x="299" y="239"/>
                  </a:lnTo>
                  <a:lnTo>
                    <a:pt x="353" y="271"/>
                  </a:lnTo>
                  <a:lnTo>
                    <a:pt x="325" y="269"/>
                  </a:lnTo>
                  <a:lnTo>
                    <a:pt x="296" y="297"/>
                  </a:lnTo>
                  <a:lnTo>
                    <a:pt x="242" y="265"/>
                  </a:lnTo>
                  <a:lnTo>
                    <a:pt x="157" y="260"/>
                  </a:lnTo>
                  <a:lnTo>
                    <a:pt x="133" y="200"/>
                  </a:lnTo>
                  <a:lnTo>
                    <a:pt x="78" y="168"/>
                  </a:lnTo>
                  <a:lnTo>
                    <a:pt x="0" y="46"/>
                  </a:lnTo>
                  <a:lnTo>
                    <a:pt x="110" y="111"/>
                  </a:lnTo>
                </a:path>
              </a:pathLst>
            </a:custGeom>
            <a:solidFill>
              <a:srgbClr val="B2C2D1"/>
            </a:solidFill>
            <a:ln w="9525">
              <a:noFill/>
              <a:round/>
              <a:headEnd/>
              <a:tailEnd/>
            </a:ln>
          </p:spPr>
          <p:txBody>
            <a:bodyPr/>
            <a:lstStyle/>
            <a:p>
              <a:endParaRPr lang="el-GR"/>
            </a:p>
          </p:txBody>
        </p:sp>
        <p:sp>
          <p:nvSpPr>
            <p:cNvPr id="160" name="Freeform 37"/>
            <p:cNvSpPr>
              <a:spLocks/>
            </p:cNvSpPr>
            <p:nvPr/>
          </p:nvSpPr>
          <p:spPr bwMode="auto">
            <a:xfrm>
              <a:off x="2802" y="2261"/>
              <a:ext cx="47" cy="41"/>
            </a:xfrm>
            <a:custGeom>
              <a:avLst/>
              <a:gdLst>
                <a:gd name="T0" fmla="*/ 9 w 198"/>
                <a:gd name="T1" fmla="*/ 3 h 176"/>
                <a:gd name="T2" fmla="*/ 9 w 198"/>
                <a:gd name="T3" fmla="*/ 3 h 176"/>
                <a:gd name="T4" fmla="*/ 11 w 198"/>
                <a:gd name="T5" fmla="*/ 2 h 176"/>
                <a:gd name="T6" fmla="*/ 10 w 198"/>
                <a:gd name="T7" fmla="*/ 0 h 176"/>
                <a:gd name="T8" fmla="*/ 6 w 198"/>
                <a:gd name="T9" fmla="*/ 0 h 176"/>
                <a:gd name="T10" fmla="*/ 2 w 198"/>
                <a:gd name="T11" fmla="*/ 1 h 176"/>
                <a:gd name="T12" fmla="*/ 0 w 198"/>
                <a:gd name="T13" fmla="*/ 1 h 176"/>
                <a:gd name="T14" fmla="*/ 0 w 198"/>
                <a:gd name="T15" fmla="*/ 3 h 176"/>
                <a:gd name="T16" fmla="*/ 1 w 198"/>
                <a:gd name="T17" fmla="*/ 5 h 176"/>
                <a:gd name="T18" fmla="*/ 3 w 198"/>
                <a:gd name="T19" fmla="*/ 6 h 176"/>
                <a:gd name="T20" fmla="*/ 3 w 198"/>
                <a:gd name="T21" fmla="*/ 8 h 176"/>
                <a:gd name="T22" fmla="*/ 5 w 198"/>
                <a:gd name="T23" fmla="*/ 10 h 176"/>
                <a:gd name="T24" fmla="*/ 8 w 198"/>
                <a:gd name="T25" fmla="*/ 8 h 176"/>
                <a:gd name="T26" fmla="*/ 8 w 198"/>
                <a:gd name="T27" fmla="*/ 5 h 176"/>
                <a:gd name="T28" fmla="*/ 9 w 198"/>
                <a:gd name="T29" fmla="*/ 3 h 1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8"/>
                <a:gd name="T46" fmla="*/ 0 h 176"/>
                <a:gd name="T47" fmla="*/ 198 w 198"/>
                <a:gd name="T48" fmla="*/ 176 h 1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8" h="176">
                  <a:moveTo>
                    <a:pt x="168" y="62"/>
                  </a:moveTo>
                  <a:lnTo>
                    <a:pt x="168" y="62"/>
                  </a:lnTo>
                  <a:lnTo>
                    <a:pt x="198" y="34"/>
                  </a:lnTo>
                  <a:lnTo>
                    <a:pt x="171" y="3"/>
                  </a:lnTo>
                  <a:lnTo>
                    <a:pt x="115" y="0"/>
                  </a:lnTo>
                  <a:lnTo>
                    <a:pt x="29" y="25"/>
                  </a:lnTo>
                  <a:lnTo>
                    <a:pt x="1" y="23"/>
                  </a:lnTo>
                  <a:lnTo>
                    <a:pt x="0" y="53"/>
                  </a:lnTo>
                  <a:lnTo>
                    <a:pt x="26" y="85"/>
                  </a:lnTo>
                  <a:lnTo>
                    <a:pt x="53" y="115"/>
                  </a:lnTo>
                  <a:lnTo>
                    <a:pt x="51" y="145"/>
                  </a:lnTo>
                  <a:lnTo>
                    <a:pt x="78" y="176"/>
                  </a:lnTo>
                  <a:lnTo>
                    <a:pt x="135" y="150"/>
                  </a:lnTo>
                  <a:lnTo>
                    <a:pt x="139" y="90"/>
                  </a:lnTo>
                  <a:lnTo>
                    <a:pt x="168" y="62"/>
                  </a:lnTo>
                  <a:close/>
                </a:path>
              </a:pathLst>
            </a:custGeom>
            <a:solidFill>
              <a:srgbClr val="B2C2D1"/>
            </a:solidFill>
            <a:ln w="9525">
              <a:noFill/>
              <a:round/>
              <a:headEnd/>
              <a:tailEnd/>
            </a:ln>
          </p:spPr>
          <p:txBody>
            <a:bodyPr/>
            <a:lstStyle/>
            <a:p>
              <a:endParaRPr lang="el-GR"/>
            </a:p>
          </p:txBody>
        </p:sp>
        <p:sp>
          <p:nvSpPr>
            <p:cNvPr id="161" name="Freeform 38"/>
            <p:cNvSpPr>
              <a:spLocks/>
            </p:cNvSpPr>
            <p:nvPr/>
          </p:nvSpPr>
          <p:spPr bwMode="auto">
            <a:xfrm>
              <a:off x="2802" y="2261"/>
              <a:ext cx="47" cy="41"/>
            </a:xfrm>
            <a:custGeom>
              <a:avLst/>
              <a:gdLst>
                <a:gd name="T0" fmla="*/ 9 w 198"/>
                <a:gd name="T1" fmla="*/ 3 h 176"/>
                <a:gd name="T2" fmla="*/ 9 w 198"/>
                <a:gd name="T3" fmla="*/ 3 h 176"/>
                <a:gd name="T4" fmla="*/ 11 w 198"/>
                <a:gd name="T5" fmla="*/ 2 h 176"/>
                <a:gd name="T6" fmla="*/ 10 w 198"/>
                <a:gd name="T7" fmla="*/ 0 h 176"/>
                <a:gd name="T8" fmla="*/ 6 w 198"/>
                <a:gd name="T9" fmla="*/ 0 h 176"/>
                <a:gd name="T10" fmla="*/ 2 w 198"/>
                <a:gd name="T11" fmla="*/ 1 h 176"/>
                <a:gd name="T12" fmla="*/ 0 w 198"/>
                <a:gd name="T13" fmla="*/ 1 h 176"/>
                <a:gd name="T14" fmla="*/ 0 w 198"/>
                <a:gd name="T15" fmla="*/ 3 h 176"/>
                <a:gd name="T16" fmla="*/ 1 w 198"/>
                <a:gd name="T17" fmla="*/ 5 h 176"/>
                <a:gd name="T18" fmla="*/ 3 w 198"/>
                <a:gd name="T19" fmla="*/ 6 h 176"/>
                <a:gd name="T20" fmla="*/ 3 w 198"/>
                <a:gd name="T21" fmla="*/ 8 h 176"/>
                <a:gd name="T22" fmla="*/ 5 w 198"/>
                <a:gd name="T23" fmla="*/ 10 h 176"/>
                <a:gd name="T24" fmla="*/ 8 w 198"/>
                <a:gd name="T25" fmla="*/ 8 h 176"/>
                <a:gd name="T26" fmla="*/ 8 w 198"/>
                <a:gd name="T27" fmla="*/ 5 h 176"/>
                <a:gd name="T28" fmla="*/ 9 w 198"/>
                <a:gd name="T29" fmla="*/ 3 h 17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8"/>
                <a:gd name="T46" fmla="*/ 0 h 176"/>
                <a:gd name="T47" fmla="*/ 198 w 198"/>
                <a:gd name="T48" fmla="*/ 176 h 17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8" h="176">
                  <a:moveTo>
                    <a:pt x="168" y="62"/>
                  </a:moveTo>
                  <a:lnTo>
                    <a:pt x="168" y="62"/>
                  </a:lnTo>
                  <a:lnTo>
                    <a:pt x="198" y="34"/>
                  </a:lnTo>
                  <a:lnTo>
                    <a:pt x="171" y="3"/>
                  </a:lnTo>
                  <a:lnTo>
                    <a:pt x="115" y="0"/>
                  </a:lnTo>
                  <a:lnTo>
                    <a:pt x="29" y="25"/>
                  </a:lnTo>
                  <a:lnTo>
                    <a:pt x="1" y="23"/>
                  </a:lnTo>
                  <a:lnTo>
                    <a:pt x="0" y="53"/>
                  </a:lnTo>
                  <a:lnTo>
                    <a:pt x="26" y="85"/>
                  </a:lnTo>
                  <a:lnTo>
                    <a:pt x="53" y="115"/>
                  </a:lnTo>
                  <a:lnTo>
                    <a:pt x="51" y="145"/>
                  </a:lnTo>
                  <a:lnTo>
                    <a:pt x="78" y="176"/>
                  </a:lnTo>
                  <a:lnTo>
                    <a:pt x="135" y="150"/>
                  </a:lnTo>
                  <a:lnTo>
                    <a:pt x="139" y="90"/>
                  </a:lnTo>
                  <a:lnTo>
                    <a:pt x="168" y="62"/>
                  </a:lnTo>
                </a:path>
              </a:pathLst>
            </a:custGeom>
            <a:solidFill>
              <a:srgbClr val="B2C2D1"/>
            </a:solidFill>
            <a:ln w="9525">
              <a:noFill/>
              <a:round/>
              <a:headEnd/>
              <a:tailEnd/>
            </a:ln>
          </p:spPr>
          <p:txBody>
            <a:bodyPr/>
            <a:lstStyle/>
            <a:p>
              <a:endParaRPr lang="el-GR"/>
            </a:p>
          </p:txBody>
        </p:sp>
        <p:sp>
          <p:nvSpPr>
            <p:cNvPr id="162" name="Freeform 39"/>
            <p:cNvSpPr>
              <a:spLocks/>
            </p:cNvSpPr>
            <p:nvPr/>
          </p:nvSpPr>
          <p:spPr bwMode="auto">
            <a:xfrm>
              <a:off x="2780" y="2414"/>
              <a:ext cx="61" cy="33"/>
            </a:xfrm>
            <a:custGeom>
              <a:avLst/>
              <a:gdLst>
                <a:gd name="T0" fmla="*/ 8 w 256"/>
                <a:gd name="T1" fmla="*/ 5 h 139"/>
                <a:gd name="T2" fmla="*/ 10 w 256"/>
                <a:gd name="T3" fmla="*/ 3 h 139"/>
                <a:gd name="T4" fmla="*/ 15 w 256"/>
                <a:gd name="T5" fmla="*/ 2 h 139"/>
                <a:gd name="T6" fmla="*/ 11 w 256"/>
                <a:gd name="T7" fmla="*/ 2 h 139"/>
                <a:gd name="T8" fmla="*/ 10 w 256"/>
                <a:gd name="T9" fmla="*/ 0 h 139"/>
                <a:gd name="T10" fmla="*/ 5 w 256"/>
                <a:gd name="T11" fmla="*/ 3 h 139"/>
                <a:gd name="T12" fmla="*/ 2 w 256"/>
                <a:gd name="T13" fmla="*/ 5 h 139"/>
                <a:gd name="T14" fmla="*/ 0 w 256"/>
                <a:gd name="T15" fmla="*/ 8 h 139"/>
                <a:gd name="T16" fmla="*/ 1 w 256"/>
                <a:gd name="T17" fmla="*/ 8 h 139"/>
                <a:gd name="T18" fmla="*/ 5 w 256"/>
                <a:gd name="T19" fmla="*/ 6 h 139"/>
                <a:gd name="T20" fmla="*/ 5 w 256"/>
                <a:gd name="T21" fmla="*/ 5 h 139"/>
                <a:gd name="T22" fmla="*/ 8 w 256"/>
                <a:gd name="T23" fmla="*/ 5 h 1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6"/>
                <a:gd name="T37" fmla="*/ 0 h 139"/>
                <a:gd name="T38" fmla="*/ 256 w 256"/>
                <a:gd name="T39" fmla="*/ 139 h 1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6" h="139">
                  <a:moveTo>
                    <a:pt x="142" y="86"/>
                  </a:moveTo>
                  <a:lnTo>
                    <a:pt x="171" y="59"/>
                  </a:lnTo>
                  <a:lnTo>
                    <a:pt x="256" y="34"/>
                  </a:lnTo>
                  <a:lnTo>
                    <a:pt x="200" y="31"/>
                  </a:lnTo>
                  <a:lnTo>
                    <a:pt x="174" y="0"/>
                  </a:lnTo>
                  <a:lnTo>
                    <a:pt x="88" y="55"/>
                  </a:lnTo>
                  <a:lnTo>
                    <a:pt x="30" y="80"/>
                  </a:lnTo>
                  <a:lnTo>
                    <a:pt x="0" y="137"/>
                  </a:lnTo>
                  <a:lnTo>
                    <a:pt x="27" y="139"/>
                  </a:lnTo>
                  <a:lnTo>
                    <a:pt x="84" y="112"/>
                  </a:lnTo>
                  <a:lnTo>
                    <a:pt x="86" y="84"/>
                  </a:lnTo>
                  <a:lnTo>
                    <a:pt x="142" y="86"/>
                  </a:lnTo>
                  <a:close/>
                </a:path>
              </a:pathLst>
            </a:custGeom>
            <a:solidFill>
              <a:srgbClr val="B2C2D1"/>
            </a:solidFill>
            <a:ln w="9525">
              <a:noFill/>
              <a:round/>
              <a:headEnd/>
              <a:tailEnd/>
            </a:ln>
          </p:spPr>
          <p:txBody>
            <a:bodyPr/>
            <a:lstStyle/>
            <a:p>
              <a:endParaRPr lang="el-GR"/>
            </a:p>
          </p:txBody>
        </p:sp>
        <p:sp>
          <p:nvSpPr>
            <p:cNvPr id="163" name="Freeform 40"/>
            <p:cNvSpPr>
              <a:spLocks/>
            </p:cNvSpPr>
            <p:nvPr/>
          </p:nvSpPr>
          <p:spPr bwMode="auto">
            <a:xfrm>
              <a:off x="2780" y="2414"/>
              <a:ext cx="61" cy="33"/>
            </a:xfrm>
            <a:custGeom>
              <a:avLst/>
              <a:gdLst>
                <a:gd name="T0" fmla="*/ 8 w 256"/>
                <a:gd name="T1" fmla="*/ 5 h 139"/>
                <a:gd name="T2" fmla="*/ 10 w 256"/>
                <a:gd name="T3" fmla="*/ 3 h 139"/>
                <a:gd name="T4" fmla="*/ 15 w 256"/>
                <a:gd name="T5" fmla="*/ 2 h 139"/>
                <a:gd name="T6" fmla="*/ 11 w 256"/>
                <a:gd name="T7" fmla="*/ 2 h 139"/>
                <a:gd name="T8" fmla="*/ 10 w 256"/>
                <a:gd name="T9" fmla="*/ 0 h 139"/>
                <a:gd name="T10" fmla="*/ 5 w 256"/>
                <a:gd name="T11" fmla="*/ 3 h 139"/>
                <a:gd name="T12" fmla="*/ 2 w 256"/>
                <a:gd name="T13" fmla="*/ 5 h 139"/>
                <a:gd name="T14" fmla="*/ 0 w 256"/>
                <a:gd name="T15" fmla="*/ 8 h 139"/>
                <a:gd name="T16" fmla="*/ 1 w 256"/>
                <a:gd name="T17" fmla="*/ 8 h 139"/>
                <a:gd name="T18" fmla="*/ 5 w 256"/>
                <a:gd name="T19" fmla="*/ 6 h 139"/>
                <a:gd name="T20" fmla="*/ 5 w 256"/>
                <a:gd name="T21" fmla="*/ 5 h 139"/>
                <a:gd name="T22" fmla="*/ 8 w 256"/>
                <a:gd name="T23" fmla="*/ 5 h 13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6"/>
                <a:gd name="T37" fmla="*/ 0 h 139"/>
                <a:gd name="T38" fmla="*/ 256 w 256"/>
                <a:gd name="T39" fmla="*/ 139 h 13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6" h="139">
                  <a:moveTo>
                    <a:pt x="142" y="86"/>
                  </a:moveTo>
                  <a:lnTo>
                    <a:pt x="171" y="59"/>
                  </a:lnTo>
                  <a:lnTo>
                    <a:pt x="256" y="34"/>
                  </a:lnTo>
                  <a:lnTo>
                    <a:pt x="200" y="31"/>
                  </a:lnTo>
                  <a:lnTo>
                    <a:pt x="174" y="0"/>
                  </a:lnTo>
                  <a:lnTo>
                    <a:pt x="88" y="55"/>
                  </a:lnTo>
                  <a:lnTo>
                    <a:pt x="30" y="80"/>
                  </a:lnTo>
                  <a:lnTo>
                    <a:pt x="0" y="137"/>
                  </a:lnTo>
                  <a:lnTo>
                    <a:pt x="27" y="139"/>
                  </a:lnTo>
                  <a:lnTo>
                    <a:pt x="84" y="112"/>
                  </a:lnTo>
                  <a:lnTo>
                    <a:pt x="86" y="84"/>
                  </a:lnTo>
                  <a:lnTo>
                    <a:pt x="142" y="86"/>
                  </a:lnTo>
                </a:path>
              </a:pathLst>
            </a:custGeom>
            <a:solidFill>
              <a:srgbClr val="B2C2D1"/>
            </a:solidFill>
            <a:ln w="9525">
              <a:noFill/>
              <a:round/>
              <a:headEnd/>
              <a:tailEnd/>
            </a:ln>
          </p:spPr>
          <p:txBody>
            <a:bodyPr/>
            <a:lstStyle/>
            <a:p>
              <a:endParaRPr lang="el-GR"/>
            </a:p>
          </p:txBody>
        </p:sp>
        <p:sp>
          <p:nvSpPr>
            <p:cNvPr id="164" name="Freeform 41"/>
            <p:cNvSpPr>
              <a:spLocks/>
            </p:cNvSpPr>
            <p:nvPr/>
          </p:nvSpPr>
          <p:spPr bwMode="auto">
            <a:xfrm>
              <a:off x="2804" y="2343"/>
              <a:ext cx="20" cy="21"/>
            </a:xfrm>
            <a:custGeom>
              <a:avLst/>
              <a:gdLst>
                <a:gd name="T0" fmla="*/ 0 w 84"/>
                <a:gd name="T1" fmla="*/ 5 h 91"/>
                <a:gd name="T2" fmla="*/ 0 w 84"/>
                <a:gd name="T3" fmla="*/ 3 h 91"/>
                <a:gd name="T4" fmla="*/ 2 w 84"/>
                <a:gd name="T5" fmla="*/ 3 h 91"/>
                <a:gd name="T6" fmla="*/ 2 w 84"/>
                <a:gd name="T7" fmla="*/ 0 h 91"/>
                <a:gd name="T8" fmla="*/ 3 w 84"/>
                <a:gd name="T9" fmla="*/ 3 h 91"/>
                <a:gd name="T10" fmla="*/ 5 w 84"/>
                <a:gd name="T11" fmla="*/ 3 h 91"/>
                <a:gd name="T12" fmla="*/ 5 w 84"/>
                <a:gd name="T13" fmla="*/ 5 h 91"/>
                <a:gd name="T14" fmla="*/ 0 w 84"/>
                <a:gd name="T15" fmla="*/ 5 h 91"/>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91"/>
                <a:gd name="T26" fmla="*/ 84 w 84"/>
                <a:gd name="T27" fmla="*/ 91 h 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91">
                  <a:moveTo>
                    <a:pt x="0" y="86"/>
                  </a:moveTo>
                  <a:lnTo>
                    <a:pt x="1" y="57"/>
                  </a:lnTo>
                  <a:lnTo>
                    <a:pt x="29" y="58"/>
                  </a:lnTo>
                  <a:lnTo>
                    <a:pt x="32" y="0"/>
                  </a:lnTo>
                  <a:lnTo>
                    <a:pt x="57" y="60"/>
                  </a:lnTo>
                  <a:lnTo>
                    <a:pt x="84" y="61"/>
                  </a:lnTo>
                  <a:lnTo>
                    <a:pt x="83" y="91"/>
                  </a:lnTo>
                  <a:lnTo>
                    <a:pt x="0" y="86"/>
                  </a:lnTo>
                  <a:close/>
                </a:path>
              </a:pathLst>
            </a:custGeom>
            <a:solidFill>
              <a:srgbClr val="B2C2D1"/>
            </a:solidFill>
            <a:ln w="9525">
              <a:noFill/>
              <a:round/>
              <a:headEnd/>
              <a:tailEnd/>
            </a:ln>
          </p:spPr>
          <p:txBody>
            <a:bodyPr/>
            <a:lstStyle/>
            <a:p>
              <a:endParaRPr lang="el-GR"/>
            </a:p>
          </p:txBody>
        </p:sp>
        <p:sp>
          <p:nvSpPr>
            <p:cNvPr id="165" name="Freeform 42"/>
            <p:cNvSpPr>
              <a:spLocks/>
            </p:cNvSpPr>
            <p:nvPr/>
          </p:nvSpPr>
          <p:spPr bwMode="auto">
            <a:xfrm>
              <a:off x="2804" y="2343"/>
              <a:ext cx="20" cy="21"/>
            </a:xfrm>
            <a:custGeom>
              <a:avLst/>
              <a:gdLst>
                <a:gd name="T0" fmla="*/ 0 w 84"/>
                <a:gd name="T1" fmla="*/ 5 h 91"/>
                <a:gd name="T2" fmla="*/ 0 w 84"/>
                <a:gd name="T3" fmla="*/ 3 h 91"/>
                <a:gd name="T4" fmla="*/ 2 w 84"/>
                <a:gd name="T5" fmla="*/ 3 h 91"/>
                <a:gd name="T6" fmla="*/ 2 w 84"/>
                <a:gd name="T7" fmla="*/ 0 h 91"/>
                <a:gd name="T8" fmla="*/ 3 w 84"/>
                <a:gd name="T9" fmla="*/ 3 h 91"/>
                <a:gd name="T10" fmla="*/ 5 w 84"/>
                <a:gd name="T11" fmla="*/ 3 h 91"/>
                <a:gd name="T12" fmla="*/ 5 w 84"/>
                <a:gd name="T13" fmla="*/ 5 h 91"/>
                <a:gd name="T14" fmla="*/ 0 w 84"/>
                <a:gd name="T15" fmla="*/ 5 h 91"/>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91"/>
                <a:gd name="T26" fmla="*/ 84 w 84"/>
                <a:gd name="T27" fmla="*/ 91 h 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91">
                  <a:moveTo>
                    <a:pt x="0" y="86"/>
                  </a:moveTo>
                  <a:lnTo>
                    <a:pt x="1" y="57"/>
                  </a:lnTo>
                  <a:lnTo>
                    <a:pt x="29" y="58"/>
                  </a:lnTo>
                  <a:lnTo>
                    <a:pt x="32" y="0"/>
                  </a:lnTo>
                  <a:lnTo>
                    <a:pt x="57" y="60"/>
                  </a:lnTo>
                  <a:lnTo>
                    <a:pt x="84" y="61"/>
                  </a:lnTo>
                  <a:lnTo>
                    <a:pt x="83" y="91"/>
                  </a:lnTo>
                  <a:lnTo>
                    <a:pt x="0" y="86"/>
                  </a:lnTo>
                </a:path>
              </a:pathLst>
            </a:custGeom>
            <a:solidFill>
              <a:srgbClr val="B2C2D1"/>
            </a:solidFill>
            <a:ln w="9525">
              <a:noFill/>
              <a:round/>
              <a:headEnd/>
              <a:tailEnd/>
            </a:ln>
          </p:spPr>
          <p:txBody>
            <a:bodyPr/>
            <a:lstStyle/>
            <a:p>
              <a:endParaRPr lang="el-GR"/>
            </a:p>
          </p:txBody>
        </p:sp>
        <p:sp>
          <p:nvSpPr>
            <p:cNvPr id="166" name="Freeform 43"/>
            <p:cNvSpPr>
              <a:spLocks/>
            </p:cNvSpPr>
            <p:nvPr/>
          </p:nvSpPr>
          <p:spPr bwMode="auto">
            <a:xfrm>
              <a:off x="3000" y="2279"/>
              <a:ext cx="15" cy="40"/>
            </a:xfrm>
            <a:custGeom>
              <a:avLst/>
              <a:gdLst>
                <a:gd name="T0" fmla="*/ 4 w 64"/>
                <a:gd name="T1" fmla="*/ 0 h 171"/>
                <a:gd name="T2" fmla="*/ 3 w 64"/>
                <a:gd name="T3" fmla="*/ 2 h 171"/>
                <a:gd name="T4" fmla="*/ 3 w 64"/>
                <a:gd name="T5" fmla="*/ 3 h 171"/>
                <a:gd name="T6" fmla="*/ 3 w 64"/>
                <a:gd name="T7" fmla="*/ 5 h 171"/>
                <a:gd name="T8" fmla="*/ 2 w 64"/>
                <a:gd name="T9" fmla="*/ 6 h 171"/>
                <a:gd name="T10" fmla="*/ 0 w 64"/>
                <a:gd name="T11" fmla="*/ 8 h 171"/>
                <a:gd name="T12" fmla="*/ 0 w 64"/>
                <a:gd name="T13" fmla="*/ 9 h 171"/>
                <a:gd name="T14" fmla="*/ 0 w 64"/>
                <a:gd name="T15" fmla="*/ 8 h 171"/>
                <a:gd name="T16" fmla="*/ 0 w 64"/>
                <a:gd name="T17" fmla="*/ 6 h 171"/>
                <a:gd name="T18" fmla="*/ 2 w 64"/>
                <a:gd name="T19" fmla="*/ 5 h 171"/>
                <a:gd name="T20" fmla="*/ 2 w 64"/>
                <a:gd name="T21" fmla="*/ 3 h 171"/>
                <a:gd name="T22" fmla="*/ 2 w 64"/>
                <a:gd name="T23" fmla="*/ 1 h 171"/>
                <a:gd name="T24" fmla="*/ 4 w 64"/>
                <a:gd name="T25" fmla="*/ 0 h 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171"/>
                <a:gd name="T41" fmla="*/ 64 w 64"/>
                <a:gd name="T42" fmla="*/ 171 h 1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171">
                  <a:moveTo>
                    <a:pt x="64" y="0"/>
                  </a:moveTo>
                  <a:lnTo>
                    <a:pt x="61" y="29"/>
                  </a:lnTo>
                  <a:lnTo>
                    <a:pt x="60" y="57"/>
                  </a:lnTo>
                  <a:lnTo>
                    <a:pt x="58" y="87"/>
                  </a:lnTo>
                  <a:lnTo>
                    <a:pt x="30" y="115"/>
                  </a:lnTo>
                  <a:lnTo>
                    <a:pt x="1" y="142"/>
                  </a:lnTo>
                  <a:lnTo>
                    <a:pt x="0" y="171"/>
                  </a:lnTo>
                  <a:lnTo>
                    <a:pt x="1" y="142"/>
                  </a:lnTo>
                  <a:lnTo>
                    <a:pt x="3" y="113"/>
                  </a:lnTo>
                  <a:lnTo>
                    <a:pt x="31" y="86"/>
                  </a:lnTo>
                  <a:lnTo>
                    <a:pt x="33" y="56"/>
                  </a:lnTo>
                  <a:lnTo>
                    <a:pt x="34" y="27"/>
                  </a:lnTo>
                  <a:lnTo>
                    <a:pt x="64" y="0"/>
                  </a:lnTo>
                  <a:close/>
                </a:path>
              </a:pathLst>
            </a:custGeom>
            <a:solidFill>
              <a:srgbClr val="B2C2D1"/>
            </a:solidFill>
            <a:ln w="9525">
              <a:noFill/>
              <a:round/>
              <a:headEnd/>
              <a:tailEnd/>
            </a:ln>
          </p:spPr>
          <p:txBody>
            <a:bodyPr/>
            <a:lstStyle/>
            <a:p>
              <a:endParaRPr lang="el-GR"/>
            </a:p>
          </p:txBody>
        </p:sp>
        <p:sp>
          <p:nvSpPr>
            <p:cNvPr id="167" name="Freeform 44"/>
            <p:cNvSpPr>
              <a:spLocks/>
            </p:cNvSpPr>
            <p:nvPr/>
          </p:nvSpPr>
          <p:spPr bwMode="auto">
            <a:xfrm>
              <a:off x="3000" y="2279"/>
              <a:ext cx="15" cy="40"/>
            </a:xfrm>
            <a:custGeom>
              <a:avLst/>
              <a:gdLst>
                <a:gd name="T0" fmla="*/ 4 w 64"/>
                <a:gd name="T1" fmla="*/ 0 h 171"/>
                <a:gd name="T2" fmla="*/ 3 w 64"/>
                <a:gd name="T3" fmla="*/ 2 h 171"/>
                <a:gd name="T4" fmla="*/ 3 w 64"/>
                <a:gd name="T5" fmla="*/ 3 h 171"/>
                <a:gd name="T6" fmla="*/ 3 w 64"/>
                <a:gd name="T7" fmla="*/ 5 h 171"/>
                <a:gd name="T8" fmla="*/ 2 w 64"/>
                <a:gd name="T9" fmla="*/ 6 h 171"/>
                <a:gd name="T10" fmla="*/ 0 w 64"/>
                <a:gd name="T11" fmla="*/ 8 h 171"/>
                <a:gd name="T12" fmla="*/ 0 w 64"/>
                <a:gd name="T13" fmla="*/ 9 h 171"/>
                <a:gd name="T14" fmla="*/ 0 w 64"/>
                <a:gd name="T15" fmla="*/ 8 h 171"/>
                <a:gd name="T16" fmla="*/ 0 w 64"/>
                <a:gd name="T17" fmla="*/ 6 h 171"/>
                <a:gd name="T18" fmla="*/ 2 w 64"/>
                <a:gd name="T19" fmla="*/ 5 h 171"/>
                <a:gd name="T20" fmla="*/ 2 w 64"/>
                <a:gd name="T21" fmla="*/ 3 h 171"/>
                <a:gd name="T22" fmla="*/ 2 w 64"/>
                <a:gd name="T23" fmla="*/ 1 h 171"/>
                <a:gd name="T24" fmla="*/ 4 w 64"/>
                <a:gd name="T25" fmla="*/ 0 h 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171"/>
                <a:gd name="T41" fmla="*/ 64 w 64"/>
                <a:gd name="T42" fmla="*/ 171 h 1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171">
                  <a:moveTo>
                    <a:pt x="64" y="0"/>
                  </a:moveTo>
                  <a:lnTo>
                    <a:pt x="61" y="29"/>
                  </a:lnTo>
                  <a:lnTo>
                    <a:pt x="60" y="57"/>
                  </a:lnTo>
                  <a:lnTo>
                    <a:pt x="58" y="87"/>
                  </a:lnTo>
                  <a:lnTo>
                    <a:pt x="30" y="115"/>
                  </a:lnTo>
                  <a:lnTo>
                    <a:pt x="1" y="142"/>
                  </a:lnTo>
                  <a:lnTo>
                    <a:pt x="0" y="171"/>
                  </a:lnTo>
                  <a:lnTo>
                    <a:pt x="1" y="142"/>
                  </a:lnTo>
                  <a:lnTo>
                    <a:pt x="3" y="113"/>
                  </a:lnTo>
                  <a:lnTo>
                    <a:pt x="31" y="86"/>
                  </a:lnTo>
                  <a:lnTo>
                    <a:pt x="33" y="56"/>
                  </a:lnTo>
                  <a:lnTo>
                    <a:pt x="34" y="27"/>
                  </a:lnTo>
                  <a:lnTo>
                    <a:pt x="64" y="0"/>
                  </a:lnTo>
                </a:path>
              </a:pathLst>
            </a:custGeom>
            <a:solidFill>
              <a:srgbClr val="B2C2D1"/>
            </a:solidFill>
            <a:ln w="9525">
              <a:noFill/>
              <a:round/>
              <a:headEnd/>
              <a:tailEnd/>
            </a:ln>
          </p:spPr>
          <p:txBody>
            <a:bodyPr/>
            <a:lstStyle/>
            <a:p>
              <a:endParaRPr lang="el-GR"/>
            </a:p>
          </p:txBody>
        </p:sp>
        <p:sp>
          <p:nvSpPr>
            <p:cNvPr id="168" name="Freeform 45"/>
            <p:cNvSpPr>
              <a:spLocks/>
            </p:cNvSpPr>
            <p:nvPr/>
          </p:nvSpPr>
          <p:spPr bwMode="auto">
            <a:xfrm>
              <a:off x="2731" y="2969"/>
              <a:ext cx="13" cy="28"/>
            </a:xfrm>
            <a:custGeom>
              <a:avLst/>
              <a:gdLst>
                <a:gd name="T0" fmla="*/ 0 w 58"/>
                <a:gd name="T1" fmla="*/ 5 h 118"/>
                <a:gd name="T2" fmla="*/ 3 w 58"/>
                <a:gd name="T3" fmla="*/ 7 h 118"/>
                <a:gd name="T4" fmla="*/ 3 w 58"/>
                <a:gd name="T5" fmla="*/ 2 h 118"/>
                <a:gd name="T6" fmla="*/ 2 w 58"/>
                <a:gd name="T7" fmla="*/ 2 h 118"/>
                <a:gd name="T8" fmla="*/ 0 w 58"/>
                <a:gd name="T9" fmla="*/ 0 h 118"/>
                <a:gd name="T10" fmla="*/ 0 w 58"/>
                <a:gd name="T11" fmla="*/ 2 h 118"/>
                <a:gd name="T12" fmla="*/ 0 w 58"/>
                <a:gd name="T13" fmla="*/ 3 h 118"/>
                <a:gd name="T14" fmla="*/ 0 w 58"/>
                <a:gd name="T15" fmla="*/ 5 h 1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18"/>
                <a:gd name="T26" fmla="*/ 58 w 58"/>
                <a:gd name="T27" fmla="*/ 118 h 1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18">
                  <a:moveTo>
                    <a:pt x="0" y="86"/>
                  </a:moveTo>
                  <a:lnTo>
                    <a:pt x="54" y="118"/>
                  </a:lnTo>
                  <a:lnTo>
                    <a:pt x="58" y="31"/>
                  </a:lnTo>
                  <a:lnTo>
                    <a:pt x="31" y="30"/>
                  </a:lnTo>
                  <a:lnTo>
                    <a:pt x="5" y="0"/>
                  </a:lnTo>
                  <a:lnTo>
                    <a:pt x="4" y="29"/>
                  </a:lnTo>
                  <a:lnTo>
                    <a:pt x="2" y="57"/>
                  </a:lnTo>
                  <a:lnTo>
                    <a:pt x="0" y="86"/>
                  </a:lnTo>
                  <a:close/>
                </a:path>
              </a:pathLst>
            </a:custGeom>
            <a:solidFill>
              <a:srgbClr val="B2C2D1"/>
            </a:solidFill>
            <a:ln w="9525">
              <a:noFill/>
              <a:round/>
              <a:headEnd/>
              <a:tailEnd/>
            </a:ln>
          </p:spPr>
          <p:txBody>
            <a:bodyPr/>
            <a:lstStyle/>
            <a:p>
              <a:endParaRPr lang="el-GR"/>
            </a:p>
          </p:txBody>
        </p:sp>
        <p:sp>
          <p:nvSpPr>
            <p:cNvPr id="169" name="Freeform 46"/>
            <p:cNvSpPr>
              <a:spLocks/>
            </p:cNvSpPr>
            <p:nvPr/>
          </p:nvSpPr>
          <p:spPr bwMode="auto">
            <a:xfrm>
              <a:off x="2731" y="2969"/>
              <a:ext cx="13" cy="28"/>
            </a:xfrm>
            <a:custGeom>
              <a:avLst/>
              <a:gdLst>
                <a:gd name="T0" fmla="*/ 0 w 58"/>
                <a:gd name="T1" fmla="*/ 5 h 118"/>
                <a:gd name="T2" fmla="*/ 3 w 58"/>
                <a:gd name="T3" fmla="*/ 7 h 118"/>
                <a:gd name="T4" fmla="*/ 3 w 58"/>
                <a:gd name="T5" fmla="*/ 2 h 118"/>
                <a:gd name="T6" fmla="*/ 2 w 58"/>
                <a:gd name="T7" fmla="*/ 2 h 118"/>
                <a:gd name="T8" fmla="*/ 0 w 58"/>
                <a:gd name="T9" fmla="*/ 0 h 118"/>
                <a:gd name="T10" fmla="*/ 0 w 58"/>
                <a:gd name="T11" fmla="*/ 2 h 118"/>
                <a:gd name="T12" fmla="*/ 0 w 58"/>
                <a:gd name="T13" fmla="*/ 3 h 118"/>
                <a:gd name="T14" fmla="*/ 0 w 58"/>
                <a:gd name="T15" fmla="*/ 5 h 118"/>
                <a:gd name="T16" fmla="*/ 0 60000 65536"/>
                <a:gd name="T17" fmla="*/ 0 60000 65536"/>
                <a:gd name="T18" fmla="*/ 0 60000 65536"/>
                <a:gd name="T19" fmla="*/ 0 60000 65536"/>
                <a:gd name="T20" fmla="*/ 0 60000 65536"/>
                <a:gd name="T21" fmla="*/ 0 60000 65536"/>
                <a:gd name="T22" fmla="*/ 0 60000 65536"/>
                <a:gd name="T23" fmla="*/ 0 60000 65536"/>
                <a:gd name="T24" fmla="*/ 0 w 58"/>
                <a:gd name="T25" fmla="*/ 0 h 118"/>
                <a:gd name="T26" fmla="*/ 58 w 58"/>
                <a:gd name="T27" fmla="*/ 118 h 1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8" h="118">
                  <a:moveTo>
                    <a:pt x="0" y="86"/>
                  </a:moveTo>
                  <a:lnTo>
                    <a:pt x="54" y="118"/>
                  </a:lnTo>
                  <a:lnTo>
                    <a:pt x="58" y="31"/>
                  </a:lnTo>
                  <a:lnTo>
                    <a:pt x="31" y="30"/>
                  </a:lnTo>
                  <a:lnTo>
                    <a:pt x="5" y="0"/>
                  </a:lnTo>
                  <a:lnTo>
                    <a:pt x="4" y="29"/>
                  </a:lnTo>
                  <a:lnTo>
                    <a:pt x="2" y="57"/>
                  </a:lnTo>
                  <a:lnTo>
                    <a:pt x="0" y="86"/>
                  </a:lnTo>
                </a:path>
              </a:pathLst>
            </a:custGeom>
            <a:solidFill>
              <a:srgbClr val="B2C2D1"/>
            </a:solidFill>
            <a:ln w="9525">
              <a:noFill/>
              <a:round/>
              <a:headEnd/>
              <a:tailEnd/>
            </a:ln>
          </p:spPr>
          <p:txBody>
            <a:bodyPr/>
            <a:lstStyle/>
            <a:p>
              <a:endParaRPr lang="el-GR"/>
            </a:p>
          </p:txBody>
        </p:sp>
        <p:sp>
          <p:nvSpPr>
            <p:cNvPr id="170" name="Freeform 47"/>
            <p:cNvSpPr>
              <a:spLocks/>
            </p:cNvSpPr>
            <p:nvPr/>
          </p:nvSpPr>
          <p:spPr bwMode="auto">
            <a:xfrm>
              <a:off x="2773" y="2286"/>
              <a:ext cx="20" cy="15"/>
            </a:xfrm>
            <a:custGeom>
              <a:avLst/>
              <a:gdLst>
                <a:gd name="T0" fmla="*/ 0 w 84"/>
                <a:gd name="T1" fmla="*/ 4 h 58"/>
                <a:gd name="T2" fmla="*/ 1 w 84"/>
                <a:gd name="T3" fmla="*/ 4 h 58"/>
                <a:gd name="T4" fmla="*/ 2 w 84"/>
                <a:gd name="T5" fmla="*/ 2 h 58"/>
                <a:gd name="T6" fmla="*/ 5 w 84"/>
                <a:gd name="T7" fmla="*/ 2 h 58"/>
                <a:gd name="T8" fmla="*/ 3 w 84"/>
                <a:gd name="T9" fmla="*/ 0 h 58"/>
                <a:gd name="T10" fmla="*/ 2 w 84"/>
                <a:gd name="T11" fmla="*/ 0 h 58"/>
                <a:gd name="T12" fmla="*/ 0 w 84"/>
                <a:gd name="T13" fmla="*/ 2 h 58"/>
                <a:gd name="T14" fmla="*/ 0 w 84"/>
                <a:gd name="T15" fmla="*/ 4 h 58"/>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58"/>
                <a:gd name="T26" fmla="*/ 84 w 84"/>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58">
                  <a:moveTo>
                    <a:pt x="0" y="57"/>
                  </a:moveTo>
                  <a:lnTo>
                    <a:pt x="27" y="58"/>
                  </a:lnTo>
                  <a:lnTo>
                    <a:pt x="29" y="29"/>
                  </a:lnTo>
                  <a:lnTo>
                    <a:pt x="84" y="32"/>
                  </a:lnTo>
                  <a:lnTo>
                    <a:pt x="58" y="2"/>
                  </a:lnTo>
                  <a:lnTo>
                    <a:pt x="30" y="0"/>
                  </a:lnTo>
                  <a:lnTo>
                    <a:pt x="1" y="28"/>
                  </a:lnTo>
                  <a:lnTo>
                    <a:pt x="0" y="57"/>
                  </a:lnTo>
                  <a:close/>
                </a:path>
              </a:pathLst>
            </a:custGeom>
            <a:solidFill>
              <a:srgbClr val="B2C2D1"/>
            </a:solidFill>
            <a:ln w="9525">
              <a:noFill/>
              <a:round/>
              <a:headEnd/>
              <a:tailEnd/>
            </a:ln>
          </p:spPr>
          <p:txBody>
            <a:bodyPr/>
            <a:lstStyle/>
            <a:p>
              <a:endParaRPr lang="el-GR"/>
            </a:p>
          </p:txBody>
        </p:sp>
        <p:sp>
          <p:nvSpPr>
            <p:cNvPr id="171" name="Freeform 48"/>
            <p:cNvSpPr>
              <a:spLocks/>
            </p:cNvSpPr>
            <p:nvPr/>
          </p:nvSpPr>
          <p:spPr bwMode="auto">
            <a:xfrm>
              <a:off x="2773" y="2286"/>
              <a:ext cx="20" cy="15"/>
            </a:xfrm>
            <a:custGeom>
              <a:avLst/>
              <a:gdLst>
                <a:gd name="T0" fmla="*/ 0 w 84"/>
                <a:gd name="T1" fmla="*/ 4 h 58"/>
                <a:gd name="T2" fmla="*/ 1 w 84"/>
                <a:gd name="T3" fmla="*/ 4 h 58"/>
                <a:gd name="T4" fmla="*/ 2 w 84"/>
                <a:gd name="T5" fmla="*/ 2 h 58"/>
                <a:gd name="T6" fmla="*/ 5 w 84"/>
                <a:gd name="T7" fmla="*/ 2 h 58"/>
                <a:gd name="T8" fmla="*/ 3 w 84"/>
                <a:gd name="T9" fmla="*/ 0 h 58"/>
                <a:gd name="T10" fmla="*/ 2 w 84"/>
                <a:gd name="T11" fmla="*/ 0 h 58"/>
                <a:gd name="T12" fmla="*/ 0 w 84"/>
                <a:gd name="T13" fmla="*/ 2 h 58"/>
                <a:gd name="T14" fmla="*/ 0 w 84"/>
                <a:gd name="T15" fmla="*/ 4 h 58"/>
                <a:gd name="T16" fmla="*/ 0 60000 65536"/>
                <a:gd name="T17" fmla="*/ 0 60000 65536"/>
                <a:gd name="T18" fmla="*/ 0 60000 65536"/>
                <a:gd name="T19" fmla="*/ 0 60000 65536"/>
                <a:gd name="T20" fmla="*/ 0 60000 65536"/>
                <a:gd name="T21" fmla="*/ 0 60000 65536"/>
                <a:gd name="T22" fmla="*/ 0 60000 65536"/>
                <a:gd name="T23" fmla="*/ 0 60000 65536"/>
                <a:gd name="T24" fmla="*/ 0 w 84"/>
                <a:gd name="T25" fmla="*/ 0 h 58"/>
                <a:gd name="T26" fmla="*/ 84 w 84"/>
                <a:gd name="T27" fmla="*/ 58 h 5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4" h="58">
                  <a:moveTo>
                    <a:pt x="0" y="57"/>
                  </a:moveTo>
                  <a:lnTo>
                    <a:pt x="27" y="58"/>
                  </a:lnTo>
                  <a:lnTo>
                    <a:pt x="29" y="29"/>
                  </a:lnTo>
                  <a:lnTo>
                    <a:pt x="84" y="32"/>
                  </a:lnTo>
                  <a:lnTo>
                    <a:pt x="58" y="2"/>
                  </a:lnTo>
                  <a:lnTo>
                    <a:pt x="30" y="0"/>
                  </a:lnTo>
                  <a:lnTo>
                    <a:pt x="1" y="28"/>
                  </a:lnTo>
                  <a:lnTo>
                    <a:pt x="0" y="57"/>
                  </a:lnTo>
                </a:path>
              </a:pathLst>
            </a:custGeom>
            <a:solidFill>
              <a:srgbClr val="B2C2D1"/>
            </a:solidFill>
            <a:ln w="9525">
              <a:noFill/>
              <a:round/>
              <a:headEnd/>
              <a:tailEnd/>
            </a:ln>
          </p:spPr>
          <p:txBody>
            <a:bodyPr/>
            <a:lstStyle/>
            <a:p>
              <a:endParaRPr lang="el-GR"/>
            </a:p>
          </p:txBody>
        </p:sp>
        <p:sp>
          <p:nvSpPr>
            <p:cNvPr id="172" name="Freeform 49"/>
            <p:cNvSpPr>
              <a:spLocks/>
            </p:cNvSpPr>
            <p:nvPr/>
          </p:nvSpPr>
          <p:spPr bwMode="auto">
            <a:xfrm>
              <a:off x="2904" y="3355"/>
              <a:ext cx="26" cy="21"/>
            </a:xfrm>
            <a:custGeom>
              <a:avLst/>
              <a:gdLst>
                <a:gd name="T0" fmla="*/ 0 w 110"/>
                <a:gd name="T1" fmla="*/ 1 h 90"/>
                <a:gd name="T2" fmla="*/ 3 w 110"/>
                <a:gd name="T3" fmla="*/ 5 h 90"/>
                <a:gd name="T4" fmla="*/ 4 w 110"/>
                <a:gd name="T5" fmla="*/ 5 h 90"/>
                <a:gd name="T6" fmla="*/ 6 w 110"/>
                <a:gd name="T7" fmla="*/ 5 h 90"/>
                <a:gd name="T8" fmla="*/ 5 w 110"/>
                <a:gd name="T9" fmla="*/ 3 h 90"/>
                <a:gd name="T10" fmla="*/ 5 w 110"/>
                <a:gd name="T11" fmla="*/ 2 h 90"/>
                <a:gd name="T12" fmla="*/ 5 w 110"/>
                <a:gd name="T13" fmla="*/ 0 h 90"/>
                <a:gd name="T14" fmla="*/ 2 w 110"/>
                <a:gd name="T15" fmla="*/ 0 h 90"/>
                <a:gd name="T16" fmla="*/ 0 w 110"/>
                <a:gd name="T17" fmla="*/ 1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
                <a:gd name="T28" fmla="*/ 0 h 90"/>
                <a:gd name="T29" fmla="*/ 110 w 110"/>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 h="90">
                  <a:moveTo>
                    <a:pt x="0" y="26"/>
                  </a:moveTo>
                  <a:lnTo>
                    <a:pt x="53" y="87"/>
                  </a:lnTo>
                  <a:lnTo>
                    <a:pt x="82" y="89"/>
                  </a:lnTo>
                  <a:lnTo>
                    <a:pt x="110" y="90"/>
                  </a:lnTo>
                  <a:lnTo>
                    <a:pt x="83" y="61"/>
                  </a:lnTo>
                  <a:lnTo>
                    <a:pt x="84" y="32"/>
                  </a:lnTo>
                  <a:lnTo>
                    <a:pt x="85" y="3"/>
                  </a:lnTo>
                  <a:lnTo>
                    <a:pt x="29" y="0"/>
                  </a:lnTo>
                  <a:lnTo>
                    <a:pt x="0" y="26"/>
                  </a:lnTo>
                  <a:close/>
                </a:path>
              </a:pathLst>
            </a:custGeom>
            <a:solidFill>
              <a:srgbClr val="B2C2D1"/>
            </a:solidFill>
            <a:ln w="9525">
              <a:noFill/>
              <a:round/>
              <a:headEnd/>
              <a:tailEnd/>
            </a:ln>
          </p:spPr>
          <p:txBody>
            <a:bodyPr/>
            <a:lstStyle/>
            <a:p>
              <a:endParaRPr lang="el-GR"/>
            </a:p>
          </p:txBody>
        </p:sp>
        <p:sp>
          <p:nvSpPr>
            <p:cNvPr id="173" name="Freeform 50"/>
            <p:cNvSpPr>
              <a:spLocks/>
            </p:cNvSpPr>
            <p:nvPr/>
          </p:nvSpPr>
          <p:spPr bwMode="auto">
            <a:xfrm>
              <a:off x="2904" y="3355"/>
              <a:ext cx="26" cy="21"/>
            </a:xfrm>
            <a:custGeom>
              <a:avLst/>
              <a:gdLst>
                <a:gd name="T0" fmla="*/ 0 w 110"/>
                <a:gd name="T1" fmla="*/ 1 h 90"/>
                <a:gd name="T2" fmla="*/ 3 w 110"/>
                <a:gd name="T3" fmla="*/ 5 h 90"/>
                <a:gd name="T4" fmla="*/ 4 w 110"/>
                <a:gd name="T5" fmla="*/ 5 h 90"/>
                <a:gd name="T6" fmla="*/ 6 w 110"/>
                <a:gd name="T7" fmla="*/ 5 h 90"/>
                <a:gd name="T8" fmla="*/ 5 w 110"/>
                <a:gd name="T9" fmla="*/ 3 h 90"/>
                <a:gd name="T10" fmla="*/ 5 w 110"/>
                <a:gd name="T11" fmla="*/ 2 h 90"/>
                <a:gd name="T12" fmla="*/ 5 w 110"/>
                <a:gd name="T13" fmla="*/ 0 h 90"/>
                <a:gd name="T14" fmla="*/ 2 w 110"/>
                <a:gd name="T15" fmla="*/ 0 h 90"/>
                <a:gd name="T16" fmla="*/ 0 w 110"/>
                <a:gd name="T17" fmla="*/ 1 h 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0"/>
                <a:gd name="T28" fmla="*/ 0 h 90"/>
                <a:gd name="T29" fmla="*/ 110 w 110"/>
                <a:gd name="T30" fmla="*/ 90 h 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0" h="90">
                  <a:moveTo>
                    <a:pt x="0" y="26"/>
                  </a:moveTo>
                  <a:lnTo>
                    <a:pt x="53" y="87"/>
                  </a:lnTo>
                  <a:lnTo>
                    <a:pt x="82" y="89"/>
                  </a:lnTo>
                  <a:lnTo>
                    <a:pt x="110" y="90"/>
                  </a:lnTo>
                  <a:lnTo>
                    <a:pt x="83" y="61"/>
                  </a:lnTo>
                  <a:lnTo>
                    <a:pt x="84" y="32"/>
                  </a:lnTo>
                  <a:lnTo>
                    <a:pt x="85" y="3"/>
                  </a:lnTo>
                  <a:lnTo>
                    <a:pt x="29" y="0"/>
                  </a:lnTo>
                  <a:lnTo>
                    <a:pt x="0" y="26"/>
                  </a:lnTo>
                </a:path>
              </a:pathLst>
            </a:custGeom>
            <a:solidFill>
              <a:srgbClr val="B2C2D1"/>
            </a:solidFill>
            <a:ln w="9525">
              <a:noFill/>
              <a:round/>
              <a:headEnd/>
              <a:tailEnd/>
            </a:ln>
          </p:spPr>
          <p:txBody>
            <a:bodyPr/>
            <a:lstStyle/>
            <a:p>
              <a:endParaRPr lang="el-GR"/>
            </a:p>
          </p:txBody>
        </p:sp>
        <p:sp>
          <p:nvSpPr>
            <p:cNvPr id="174" name="Freeform 51"/>
            <p:cNvSpPr>
              <a:spLocks/>
            </p:cNvSpPr>
            <p:nvPr/>
          </p:nvSpPr>
          <p:spPr bwMode="auto">
            <a:xfrm>
              <a:off x="3250" y="3164"/>
              <a:ext cx="19" cy="14"/>
            </a:xfrm>
            <a:custGeom>
              <a:avLst/>
              <a:gdLst>
                <a:gd name="T0" fmla="*/ 1 w 83"/>
                <a:gd name="T1" fmla="*/ 3 h 60"/>
                <a:gd name="T2" fmla="*/ 3 w 83"/>
                <a:gd name="T3" fmla="*/ 3 h 60"/>
                <a:gd name="T4" fmla="*/ 4 w 83"/>
                <a:gd name="T5" fmla="*/ 3 h 60"/>
                <a:gd name="T6" fmla="*/ 4 w 83"/>
                <a:gd name="T7" fmla="*/ 2 h 60"/>
                <a:gd name="T8" fmla="*/ 3 w 83"/>
                <a:gd name="T9" fmla="*/ 0 h 60"/>
                <a:gd name="T10" fmla="*/ 0 w 83"/>
                <a:gd name="T11" fmla="*/ 1 h 60"/>
                <a:gd name="T12" fmla="*/ 1 w 83"/>
                <a:gd name="T13" fmla="*/ 3 h 60"/>
                <a:gd name="T14" fmla="*/ 0 60000 65536"/>
                <a:gd name="T15" fmla="*/ 0 60000 65536"/>
                <a:gd name="T16" fmla="*/ 0 60000 65536"/>
                <a:gd name="T17" fmla="*/ 0 60000 65536"/>
                <a:gd name="T18" fmla="*/ 0 60000 65536"/>
                <a:gd name="T19" fmla="*/ 0 60000 65536"/>
                <a:gd name="T20" fmla="*/ 0 60000 65536"/>
                <a:gd name="T21" fmla="*/ 0 w 83"/>
                <a:gd name="T22" fmla="*/ 0 h 60"/>
                <a:gd name="T23" fmla="*/ 83 w 83"/>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0">
                  <a:moveTo>
                    <a:pt x="26" y="56"/>
                  </a:moveTo>
                  <a:lnTo>
                    <a:pt x="54" y="59"/>
                  </a:lnTo>
                  <a:lnTo>
                    <a:pt x="82" y="60"/>
                  </a:lnTo>
                  <a:lnTo>
                    <a:pt x="83" y="31"/>
                  </a:lnTo>
                  <a:lnTo>
                    <a:pt x="56" y="0"/>
                  </a:lnTo>
                  <a:lnTo>
                    <a:pt x="0" y="26"/>
                  </a:lnTo>
                  <a:lnTo>
                    <a:pt x="26" y="56"/>
                  </a:lnTo>
                  <a:close/>
                </a:path>
              </a:pathLst>
            </a:custGeom>
            <a:solidFill>
              <a:srgbClr val="B2C2D1"/>
            </a:solidFill>
            <a:ln w="9525">
              <a:noFill/>
              <a:round/>
              <a:headEnd/>
              <a:tailEnd/>
            </a:ln>
          </p:spPr>
          <p:txBody>
            <a:bodyPr/>
            <a:lstStyle/>
            <a:p>
              <a:endParaRPr lang="el-GR"/>
            </a:p>
          </p:txBody>
        </p:sp>
        <p:sp>
          <p:nvSpPr>
            <p:cNvPr id="175" name="Freeform 52"/>
            <p:cNvSpPr>
              <a:spLocks/>
            </p:cNvSpPr>
            <p:nvPr/>
          </p:nvSpPr>
          <p:spPr bwMode="auto">
            <a:xfrm>
              <a:off x="3250" y="3164"/>
              <a:ext cx="19" cy="14"/>
            </a:xfrm>
            <a:custGeom>
              <a:avLst/>
              <a:gdLst>
                <a:gd name="T0" fmla="*/ 1 w 83"/>
                <a:gd name="T1" fmla="*/ 3 h 60"/>
                <a:gd name="T2" fmla="*/ 3 w 83"/>
                <a:gd name="T3" fmla="*/ 3 h 60"/>
                <a:gd name="T4" fmla="*/ 4 w 83"/>
                <a:gd name="T5" fmla="*/ 3 h 60"/>
                <a:gd name="T6" fmla="*/ 4 w 83"/>
                <a:gd name="T7" fmla="*/ 2 h 60"/>
                <a:gd name="T8" fmla="*/ 3 w 83"/>
                <a:gd name="T9" fmla="*/ 0 h 60"/>
                <a:gd name="T10" fmla="*/ 0 w 83"/>
                <a:gd name="T11" fmla="*/ 1 h 60"/>
                <a:gd name="T12" fmla="*/ 1 w 83"/>
                <a:gd name="T13" fmla="*/ 3 h 60"/>
                <a:gd name="T14" fmla="*/ 0 60000 65536"/>
                <a:gd name="T15" fmla="*/ 0 60000 65536"/>
                <a:gd name="T16" fmla="*/ 0 60000 65536"/>
                <a:gd name="T17" fmla="*/ 0 60000 65536"/>
                <a:gd name="T18" fmla="*/ 0 60000 65536"/>
                <a:gd name="T19" fmla="*/ 0 60000 65536"/>
                <a:gd name="T20" fmla="*/ 0 60000 65536"/>
                <a:gd name="T21" fmla="*/ 0 w 83"/>
                <a:gd name="T22" fmla="*/ 0 h 60"/>
                <a:gd name="T23" fmla="*/ 83 w 83"/>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0">
                  <a:moveTo>
                    <a:pt x="26" y="56"/>
                  </a:moveTo>
                  <a:lnTo>
                    <a:pt x="54" y="59"/>
                  </a:lnTo>
                  <a:lnTo>
                    <a:pt x="82" y="60"/>
                  </a:lnTo>
                  <a:lnTo>
                    <a:pt x="83" y="31"/>
                  </a:lnTo>
                  <a:lnTo>
                    <a:pt x="56" y="0"/>
                  </a:lnTo>
                  <a:lnTo>
                    <a:pt x="0" y="26"/>
                  </a:lnTo>
                  <a:lnTo>
                    <a:pt x="26" y="56"/>
                  </a:lnTo>
                </a:path>
              </a:pathLst>
            </a:custGeom>
            <a:solidFill>
              <a:srgbClr val="B2C2D1"/>
            </a:solidFill>
            <a:ln w="9525">
              <a:noFill/>
              <a:round/>
              <a:headEnd/>
              <a:tailEnd/>
            </a:ln>
          </p:spPr>
          <p:txBody>
            <a:bodyPr/>
            <a:lstStyle/>
            <a:p>
              <a:endParaRPr lang="el-GR"/>
            </a:p>
          </p:txBody>
        </p:sp>
        <p:sp>
          <p:nvSpPr>
            <p:cNvPr id="176" name="Freeform 53"/>
            <p:cNvSpPr>
              <a:spLocks/>
            </p:cNvSpPr>
            <p:nvPr/>
          </p:nvSpPr>
          <p:spPr bwMode="auto">
            <a:xfrm>
              <a:off x="3174" y="1138"/>
              <a:ext cx="81" cy="90"/>
            </a:xfrm>
            <a:custGeom>
              <a:avLst/>
              <a:gdLst>
                <a:gd name="T0" fmla="*/ 16 w 341"/>
                <a:gd name="T1" fmla="*/ 2 h 381"/>
                <a:gd name="T2" fmla="*/ 18 w 341"/>
                <a:gd name="T3" fmla="*/ 5 h 381"/>
                <a:gd name="T4" fmla="*/ 19 w 341"/>
                <a:gd name="T5" fmla="*/ 7 h 381"/>
                <a:gd name="T6" fmla="*/ 18 w 341"/>
                <a:gd name="T7" fmla="*/ 7 h 381"/>
                <a:gd name="T8" fmla="*/ 18 w 341"/>
                <a:gd name="T9" fmla="*/ 9 h 381"/>
                <a:gd name="T10" fmla="*/ 19 w 341"/>
                <a:gd name="T11" fmla="*/ 10 h 381"/>
                <a:gd name="T12" fmla="*/ 19 w 341"/>
                <a:gd name="T13" fmla="*/ 12 h 381"/>
                <a:gd name="T14" fmla="*/ 19 w 341"/>
                <a:gd name="T15" fmla="*/ 17 h 381"/>
                <a:gd name="T16" fmla="*/ 19 w 341"/>
                <a:gd name="T17" fmla="*/ 18 h 381"/>
                <a:gd name="T18" fmla="*/ 15 w 341"/>
                <a:gd name="T19" fmla="*/ 18 h 381"/>
                <a:gd name="T20" fmla="*/ 14 w 341"/>
                <a:gd name="T21" fmla="*/ 20 h 381"/>
                <a:gd name="T22" fmla="*/ 11 w 341"/>
                <a:gd name="T23" fmla="*/ 21 h 381"/>
                <a:gd name="T24" fmla="*/ 9 w 341"/>
                <a:gd name="T25" fmla="*/ 20 h 381"/>
                <a:gd name="T26" fmla="*/ 8 w 341"/>
                <a:gd name="T27" fmla="*/ 19 h 381"/>
                <a:gd name="T28" fmla="*/ 8 w 341"/>
                <a:gd name="T29" fmla="*/ 18 h 381"/>
                <a:gd name="T30" fmla="*/ 6 w 341"/>
                <a:gd name="T31" fmla="*/ 16 h 381"/>
                <a:gd name="T32" fmla="*/ 3 w 341"/>
                <a:gd name="T33" fmla="*/ 16 h 381"/>
                <a:gd name="T34" fmla="*/ 1 w 341"/>
                <a:gd name="T35" fmla="*/ 16 h 381"/>
                <a:gd name="T36" fmla="*/ 0 w 341"/>
                <a:gd name="T37" fmla="*/ 14 h 381"/>
                <a:gd name="T38" fmla="*/ 2 w 341"/>
                <a:gd name="T39" fmla="*/ 11 h 381"/>
                <a:gd name="T40" fmla="*/ 2 w 341"/>
                <a:gd name="T41" fmla="*/ 8 h 381"/>
                <a:gd name="T42" fmla="*/ 4 w 341"/>
                <a:gd name="T43" fmla="*/ 6 h 381"/>
                <a:gd name="T44" fmla="*/ 5 w 341"/>
                <a:gd name="T45" fmla="*/ 4 h 381"/>
                <a:gd name="T46" fmla="*/ 7 w 341"/>
                <a:gd name="T47" fmla="*/ 3 h 381"/>
                <a:gd name="T48" fmla="*/ 7 w 341"/>
                <a:gd name="T49" fmla="*/ 1 h 381"/>
                <a:gd name="T50" fmla="*/ 12 w 341"/>
                <a:gd name="T51" fmla="*/ 0 h 381"/>
                <a:gd name="T52" fmla="*/ 13 w 341"/>
                <a:gd name="T53" fmla="*/ 2 h 381"/>
                <a:gd name="T54" fmla="*/ 16 w 341"/>
                <a:gd name="T55" fmla="*/ 2 h 3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1"/>
                <a:gd name="T85" fmla="*/ 0 h 381"/>
                <a:gd name="T86" fmla="*/ 341 w 341"/>
                <a:gd name="T87" fmla="*/ 381 h 3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1" h="381">
                  <a:moveTo>
                    <a:pt x="290" y="34"/>
                  </a:moveTo>
                  <a:lnTo>
                    <a:pt x="315" y="93"/>
                  </a:lnTo>
                  <a:lnTo>
                    <a:pt x="341" y="125"/>
                  </a:lnTo>
                  <a:lnTo>
                    <a:pt x="314" y="123"/>
                  </a:lnTo>
                  <a:lnTo>
                    <a:pt x="311" y="152"/>
                  </a:lnTo>
                  <a:lnTo>
                    <a:pt x="338" y="183"/>
                  </a:lnTo>
                  <a:lnTo>
                    <a:pt x="336" y="212"/>
                  </a:lnTo>
                  <a:lnTo>
                    <a:pt x="332" y="300"/>
                  </a:lnTo>
                  <a:lnTo>
                    <a:pt x="330" y="329"/>
                  </a:lnTo>
                  <a:lnTo>
                    <a:pt x="275" y="326"/>
                  </a:lnTo>
                  <a:lnTo>
                    <a:pt x="245" y="354"/>
                  </a:lnTo>
                  <a:lnTo>
                    <a:pt x="188" y="381"/>
                  </a:lnTo>
                  <a:lnTo>
                    <a:pt x="161" y="350"/>
                  </a:lnTo>
                  <a:lnTo>
                    <a:pt x="134" y="349"/>
                  </a:lnTo>
                  <a:lnTo>
                    <a:pt x="135" y="320"/>
                  </a:lnTo>
                  <a:lnTo>
                    <a:pt x="109" y="288"/>
                  </a:lnTo>
                  <a:lnTo>
                    <a:pt x="54" y="285"/>
                  </a:lnTo>
                  <a:lnTo>
                    <a:pt x="25" y="284"/>
                  </a:lnTo>
                  <a:lnTo>
                    <a:pt x="0" y="254"/>
                  </a:lnTo>
                  <a:lnTo>
                    <a:pt x="30" y="196"/>
                  </a:lnTo>
                  <a:lnTo>
                    <a:pt x="33" y="138"/>
                  </a:lnTo>
                  <a:lnTo>
                    <a:pt x="62" y="110"/>
                  </a:lnTo>
                  <a:lnTo>
                    <a:pt x="92" y="81"/>
                  </a:lnTo>
                  <a:lnTo>
                    <a:pt x="121" y="54"/>
                  </a:lnTo>
                  <a:lnTo>
                    <a:pt x="123" y="25"/>
                  </a:lnTo>
                  <a:lnTo>
                    <a:pt x="208" y="0"/>
                  </a:lnTo>
                  <a:lnTo>
                    <a:pt x="234" y="31"/>
                  </a:lnTo>
                  <a:lnTo>
                    <a:pt x="290" y="34"/>
                  </a:lnTo>
                  <a:close/>
                </a:path>
              </a:pathLst>
            </a:custGeom>
            <a:solidFill>
              <a:srgbClr val="B2C2D1"/>
            </a:solidFill>
            <a:ln w="9525">
              <a:noFill/>
              <a:round/>
              <a:headEnd/>
              <a:tailEnd/>
            </a:ln>
          </p:spPr>
          <p:txBody>
            <a:bodyPr/>
            <a:lstStyle/>
            <a:p>
              <a:endParaRPr lang="el-GR"/>
            </a:p>
          </p:txBody>
        </p:sp>
        <p:sp>
          <p:nvSpPr>
            <p:cNvPr id="177" name="Freeform 54"/>
            <p:cNvSpPr>
              <a:spLocks/>
            </p:cNvSpPr>
            <p:nvPr/>
          </p:nvSpPr>
          <p:spPr bwMode="auto">
            <a:xfrm>
              <a:off x="3174" y="1138"/>
              <a:ext cx="81" cy="90"/>
            </a:xfrm>
            <a:custGeom>
              <a:avLst/>
              <a:gdLst>
                <a:gd name="T0" fmla="*/ 16 w 341"/>
                <a:gd name="T1" fmla="*/ 2 h 381"/>
                <a:gd name="T2" fmla="*/ 18 w 341"/>
                <a:gd name="T3" fmla="*/ 5 h 381"/>
                <a:gd name="T4" fmla="*/ 19 w 341"/>
                <a:gd name="T5" fmla="*/ 7 h 381"/>
                <a:gd name="T6" fmla="*/ 18 w 341"/>
                <a:gd name="T7" fmla="*/ 7 h 381"/>
                <a:gd name="T8" fmla="*/ 18 w 341"/>
                <a:gd name="T9" fmla="*/ 9 h 381"/>
                <a:gd name="T10" fmla="*/ 19 w 341"/>
                <a:gd name="T11" fmla="*/ 10 h 381"/>
                <a:gd name="T12" fmla="*/ 19 w 341"/>
                <a:gd name="T13" fmla="*/ 12 h 381"/>
                <a:gd name="T14" fmla="*/ 19 w 341"/>
                <a:gd name="T15" fmla="*/ 17 h 381"/>
                <a:gd name="T16" fmla="*/ 19 w 341"/>
                <a:gd name="T17" fmla="*/ 18 h 381"/>
                <a:gd name="T18" fmla="*/ 15 w 341"/>
                <a:gd name="T19" fmla="*/ 18 h 381"/>
                <a:gd name="T20" fmla="*/ 14 w 341"/>
                <a:gd name="T21" fmla="*/ 20 h 381"/>
                <a:gd name="T22" fmla="*/ 11 w 341"/>
                <a:gd name="T23" fmla="*/ 21 h 381"/>
                <a:gd name="T24" fmla="*/ 9 w 341"/>
                <a:gd name="T25" fmla="*/ 20 h 381"/>
                <a:gd name="T26" fmla="*/ 8 w 341"/>
                <a:gd name="T27" fmla="*/ 19 h 381"/>
                <a:gd name="T28" fmla="*/ 8 w 341"/>
                <a:gd name="T29" fmla="*/ 18 h 381"/>
                <a:gd name="T30" fmla="*/ 6 w 341"/>
                <a:gd name="T31" fmla="*/ 16 h 381"/>
                <a:gd name="T32" fmla="*/ 3 w 341"/>
                <a:gd name="T33" fmla="*/ 16 h 381"/>
                <a:gd name="T34" fmla="*/ 1 w 341"/>
                <a:gd name="T35" fmla="*/ 16 h 381"/>
                <a:gd name="T36" fmla="*/ 0 w 341"/>
                <a:gd name="T37" fmla="*/ 14 h 381"/>
                <a:gd name="T38" fmla="*/ 2 w 341"/>
                <a:gd name="T39" fmla="*/ 11 h 381"/>
                <a:gd name="T40" fmla="*/ 2 w 341"/>
                <a:gd name="T41" fmla="*/ 8 h 381"/>
                <a:gd name="T42" fmla="*/ 4 w 341"/>
                <a:gd name="T43" fmla="*/ 6 h 381"/>
                <a:gd name="T44" fmla="*/ 5 w 341"/>
                <a:gd name="T45" fmla="*/ 4 h 381"/>
                <a:gd name="T46" fmla="*/ 7 w 341"/>
                <a:gd name="T47" fmla="*/ 3 h 381"/>
                <a:gd name="T48" fmla="*/ 7 w 341"/>
                <a:gd name="T49" fmla="*/ 1 h 381"/>
                <a:gd name="T50" fmla="*/ 12 w 341"/>
                <a:gd name="T51" fmla="*/ 0 h 381"/>
                <a:gd name="T52" fmla="*/ 13 w 341"/>
                <a:gd name="T53" fmla="*/ 2 h 381"/>
                <a:gd name="T54" fmla="*/ 16 w 341"/>
                <a:gd name="T55" fmla="*/ 2 h 38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41"/>
                <a:gd name="T85" fmla="*/ 0 h 381"/>
                <a:gd name="T86" fmla="*/ 341 w 341"/>
                <a:gd name="T87" fmla="*/ 381 h 38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41" h="381">
                  <a:moveTo>
                    <a:pt x="290" y="34"/>
                  </a:moveTo>
                  <a:lnTo>
                    <a:pt x="315" y="93"/>
                  </a:lnTo>
                  <a:lnTo>
                    <a:pt x="341" y="125"/>
                  </a:lnTo>
                  <a:lnTo>
                    <a:pt x="314" y="123"/>
                  </a:lnTo>
                  <a:lnTo>
                    <a:pt x="311" y="152"/>
                  </a:lnTo>
                  <a:lnTo>
                    <a:pt x="338" y="183"/>
                  </a:lnTo>
                  <a:lnTo>
                    <a:pt x="336" y="212"/>
                  </a:lnTo>
                  <a:lnTo>
                    <a:pt x="332" y="300"/>
                  </a:lnTo>
                  <a:lnTo>
                    <a:pt x="330" y="329"/>
                  </a:lnTo>
                  <a:lnTo>
                    <a:pt x="275" y="326"/>
                  </a:lnTo>
                  <a:lnTo>
                    <a:pt x="245" y="354"/>
                  </a:lnTo>
                  <a:lnTo>
                    <a:pt x="188" y="381"/>
                  </a:lnTo>
                  <a:lnTo>
                    <a:pt x="161" y="350"/>
                  </a:lnTo>
                  <a:lnTo>
                    <a:pt x="134" y="349"/>
                  </a:lnTo>
                  <a:lnTo>
                    <a:pt x="135" y="320"/>
                  </a:lnTo>
                  <a:lnTo>
                    <a:pt x="109" y="288"/>
                  </a:lnTo>
                  <a:lnTo>
                    <a:pt x="54" y="285"/>
                  </a:lnTo>
                  <a:lnTo>
                    <a:pt x="25" y="284"/>
                  </a:lnTo>
                  <a:lnTo>
                    <a:pt x="0" y="254"/>
                  </a:lnTo>
                  <a:lnTo>
                    <a:pt x="30" y="196"/>
                  </a:lnTo>
                  <a:lnTo>
                    <a:pt x="33" y="138"/>
                  </a:lnTo>
                  <a:lnTo>
                    <a:pt x="62" y="110"/>
                  </a:lnTo>
                  <a:lnTo>
                    <a:pt x="92" y="81"/>
                  </a:lnTo>
                  <a:lnTo>
                    <a:pt x="121" y="54"/>
                  </a:lnTo>
                  <a:lnTo>
                    <a:pt x="123" y="25"/>
                  </a:lnTo>
                  <a:lnTo>
                    <a:pt x="208" y="0"/>
                  </a:lnTo>
                  <a:lnTo>
                    <a:pt x="234" y="31"/>
                  </a:lnTo>
                  <a:lnTo>
                    <a:pt x="290" y="34"/>
                  </a:lnTo>
                </a:path>
              </a:pathLst>
            </a:custGeom>
            <a:solidFill>
              <a:srgbClr val="B2C2D1"/>
            </a:solidFill>
            <a:ln w="9525">
              <a:noFill/>
              <a:round/>
              <a:headEnd/>
              <a:tailEnd/>
            </a:ln>
          </p:spPr>
          <p:txBody>
            <a:bodyPr/>
            <a:lstStyle/>
            <a:p>
              <a:endParaRPr lang="el-GR"/>
            </a:p>
          </p:txBody>
        </p:sp>
        <p:sp>
          <p:nvSpPr>
            <p:cNvPr id="178" name="Freeform 55"/>
            <p:cNvSpPr>
              <a:spLocks/>
            </p:cNvSpPr>
            <p:nvPr/>
          </p:nvSpPr>
          <p:spPr bwMode="auto">
            <a:xfrm>
              <a:off x="3443" y="1275"/>
              <a:ext cx="66" cy="43"/>
            </a:xfrm>
            <a:custGeom>
              <a:avLst/>
              <a:gdLst>
                <a:gd name="T0" fmla="*/ 6 w 275"/>
                <a:gd name="T1" fmla="*/ 0 h 181"/>
                <a:gd name="T2" fmla="*/ 10 w 275"/>
                <a:gd name="T3" fmla="*/ 0 h 181"/>
                <a:gd name="T4" fmla="*/ 12 w 275"/>
                <a:gd name="T5" fmla="*/ 0 h 181"/>
                <a:gd name="T6" fmla="*/ 14 w 275"/>
                <a:gd name="T7" fmla="*/ 4 h 181"/>
                <a:gd name="T8" fmla="*/ 16 w 275"/>
                <a:gd name="T9" fmla="*/ 7 h 181"/>
                <a:gd name="T10" fmla="*/ 11 w 275"/>
                <a:gd name="T11" fmla="*/ 9 h 181"/>
                <a:gd name="T12" fmla="*/ 9 w 275"/>
                <a:gd name="T13" fmla="*/ 10 h 181"/>
                <a:gd name="T14" fmla="*/ 6 w 275"/>
                <a:gd name="T15" fmla="*/ 10 h 181"/>
                <a:gd name="T16" fmla="*/ 4 w 275"/>
                <a:gd name="T17" fmla="*/ 8 h 181"/>
                <a:gd name="T18" fmla="*/ 3 w 275"/>
                <a:gd name="T19" fmla="*/ 7 h 181"/>
                <a:gd name="T20" fmla="*/ 1 w 275"/>
                <a:gd name="T21" fmla="*/ 5 h 181"/>
                <a:gd name="T22" fmla="*/ 0 w 275"/>
                <a:gd name="T23" fmla="*/ 1 h 181"/>
                <a:gd name="T24" fmla="*/ 2 w 275"/>
                <a:gd name="T25" fmla="*/ 2 h 181"/>
                <a:gd name="T26" fmla="*/ 2 w 275"/>
                <a:gd name="T27" fmla="*/ 0 h 181"/>
                <a:gd name="T28" fmla="*/ 6 w 275"/>
                <a:gd name="T29" fmla="*/ 0 h 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181"/>
                <a:gd name="T47" fmla="*/ 275 w 275"/>
                <a:gd name="T48" fmla="*/ 181 h 18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181">
                  <a:moveTo>
                    <a:pt x="114" y="5"/>
                  </a:moveTo>
                  <a:lnTo>
                    <a:pt x="170" y="8"/>
                  </a:lnTo>
                  <a:lnTo>
                    <a:pt x="198" y="9"/>
                  </a:lnTo>
                  <a:lnTo>
                    <a:pt x="250" y="69"/>
                  </a:lnTo>
                  <a:lnTo>
                    <a:pt x="275" y="129"/>
                  </a:lnTo>
                  <a:lnTo>
                    <a:pt x="190" y="154"/>
                  </a:lnTo>
                  <a:lnTo>
                    <a:pt x="160" y="181"/>
                  </a:lnTo>
                  <a:lnTo>
                    <a:pt x="104" y="178"/>
                  </a:lnTo>
                  <a:lnTo>
                    <a:pt x="77" y="148"/>
                  </a:lnTo>
                  <a:lnTo>
                    <a:pt x="51" y="117"/>
                  </a:lnTo>
                  <a:lnTo>
                    <a:pt x="25" y="88"/>
                  </a:lnTo>
                  <a:lnTo>
                    <a:pt x="0" y="27"/>
                  </a:lnTo>
                  <a:lnTo>
                    <a:pt x="28" y="28"/>
                  </a:lnTo>
                  <a:lnTo>
                    <a:pt x="29" y="0"/>
                  </a:lnTo>
                  <a:lnTo>
                    <a:pt x="114" y="5"/>
                  </a:lnTo>
                  <a:close/>
                </a:path>
              </a:pathLst>
            </a:custGeom>
            <a:solidFill>
              <a:srgbClr val="B2C2D1"/>
            </a:solidFill>
            <a:ln w="9525">
              <a:noFill/>
              <a:round/>
              <a:headEnd/>
              <a:tailEnd/>
            </a:ln>
          </p:spPr>
          <p:txBody>
            <a:bodyPr/>
            <a:lstStyle/>
            <a:p>
              <a:endParaRPr lang="el-GR"/>
            </a:p>
          </p:txBody>
        </p:sp>
        <p:sp>
          <p:nvSpPr>
            <p:cNvPr id="179" name="Freeform 56"/>
            <p:cNvSpPr>
              <a:spLocks/>
            </p:cNvSpPr>
            <p:nvPr/>
          </p:nvSpPr>
          <p:spPr bwMode="auto">
            <a:xfrm>
              <a:off x="3443" y="1275"/>
              <a:ext cx="66" cy="43"/>
            </a:xfrm>
            <a:custGeom>
              <a:avLst/>
              <a:gdLst>
                <a:gd name="T0" fmla="*/ 6 w 275"/>
                <a:gd name="T1" fmla="*/ 0 h 181"/>
                <a:gd name="T2" fmla="*/ 10 w 275"/>
                <a:gd name="T3" fmla="*/ 0 h 181"/>
                <a:gd name="T4" fmla="*/ 12 w 275"/>
                <a:gd name="T5" fmla="*/ 0 h 181"/>
                <a:gd name="T6" fmla="*/ 14 w 275"/>
                <a:gd name="T7" fmla="*/ 4 h 181"/>
                <a:gd name="T8" fmla="*/ 16 w 275"/>
                <a:gd name="T9" fmla="*/ 7 h 181"/>
                <a:gd name="T10" fmla="*/ 11 w 275"/>
                <a:gd name="T11" fmla="*/ 9 h 181"/>
                <a:gd name="T12" fmla="*/ 9 w 275"/>
                <a:gd name="T13" fmla="*/ 10 h 181"/>
                <a:gd name="T14" fmla="*/ 6 w 275"/>
                <a:gd name="T15" fmla="*/ 10 h 181"/>
                <a:gd name="T16" fmla="*/ 4 w 275"/>
                <a:gd name="T17" fmla="*/ 8 h 181"/>
                <a:gd name="T18" fmla="*/ 3 w 275"/>
                <a:gd name="T19" fmla="*/ 7 h 181"/>
                <a:gd name="T20" fmla="*/ 1 w 275"/>
                <a:gd name="T21" fmla="*/ 5 h 181"/>
                <a:gd name="T22" fmla="*/ 0 w 275"/>
                <a:gd name="T23" fmla="*/ 1 h 181"/>
                <a:gd name="T24" fmla="*/ 2 w 275"/>
                <a:gd name="T25" fmla="*/ 2 h 181"/>
                <a:gd name="T26" fmla="*/ 2 w 275"/>
                <a:gd name="T27" fmla="*/ 0 h 181"/>
                <a:gd name="T28" fmla="*/ 6 w 275"/>
                <a:gd name="T29" fmla="*/ 0 h 1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181"/>
                <a:gd name="T47" fmla="*/ 275 w 275"/>
                <a:gd name="T48" fmla="*/ 181 h 18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181">
                  <a:moveTo>
                    <a:pt x="114" y="5"/>
                  </a:moveTo>
                  <a:lnTo>
                    <a:pt x="170" y="8"/>
                  </a:lnTo>
                  <a:lnTo>
                    <a:pt x="198" y="9"/>
                  </a:lnTo>
                  <a:lnTo>
                    <a:pt x="250" y="69"/>
                  </a:lnTo>
                  <a:lnTo>
                    <a:pt x="275" y="129"/>
                  </a:lnTo>
                  <a:lnTo>
                    <a:pt x="190" y="154"/>
                  </a:lnTo>
                  <a:lnTo>
                    <a:pt x="160" y="181"/>
                  </a:lnTo>
                  <a:lnTo>
                    <a:pt x="104" y="178"/>
                  </a:lnTo>
                  <a:lnTo>
                    <a:pt x="77" y="148"/>
                  </a:lnTo>
                  <a:lnTo>
                    <a:pt x="51" y="117"/>
                  </a:lnTo>
                  <a:lnTo>
                    <a:pt x="25" y="88"/>
                  </a:lnTo>
                  <a:lnTo>
                    <a:pt x="0" y="27"/>
                  </a:lnTo>
                  <a:lnTo>
                    <a:pt x="28" y="28"/>
                  </a:lnTo>
                  <a:lnTo>
                    <a:pt x="29" y="0"/>
                  </a:lnTo>
                  <a:lnTo>
                    <a:pt x="114" y="5"/>
                  </a:lnTo>
                </a:path>
              </a:pathLst>
            </a:custGeom>
            <a:solidFill>
              <a:srgbClr val="B2C2D1"/>
            </a:solidFill>
            <a:ln w="9525">
              <a:noFill/>
              <a:round/>
              <a:headEnd/>
              <a:tailEnd/>
            </a:ln>
          </p:spPr>
          <p:txBody>
            <a:bodyPr/>
            <a:lstStyle/>
            <a:p>
              <a:endParaRPr lang="el-GR"/>
            </a:p>
          </p:txBody>
        </p:sp>
        <p:sp>
          <p:nvSpPr>
            <p:cNvPr id="180" name="Freeform 57"/>
            <p:cNvSpPr>
              <a:spLocks/>
            </p:cNvSpPr>
            <p:nvPr/>
          </p:nvSpPr>
          <p:spPr bwMode="auto">
            <a:xfrm>
              <a:off x="3559" y="1689"/>
              <a:ext cx="218" cy="165"/>
            </a:xfrm>
            <a:custGeom>
              <a:avLst/>
              <a:gdLst>
                <a:gd name="T0" fmla="*/ 49 w 918"/>
                <a:gd name="T1" fmla="*/ 27 h 689"/>
                <a:gd name="T2" fmla="*/ 52 w 918"/>
                <a:gd name="T3" fmla="*/ 34 h 689"/>
                <a:gd name="T4" fmla="*/ 48 w 918"/>
                <a:gd name="T5" fmla="*/ 35 h 689"/>
                <a:gd name="T6" fmla="*/ 47 w 918"/>
                <a:gd name="T7" fmla="*/ 30 h 689"/>
                <a:gd name="T8" fmla="*/ 41 w 918"/>
                <a:gd name="T9" fmla="*/ 26 h 689"/>
                <a:gd name="T10" fmla="*/ 44 w 918"/>
                <a:gd name="T11" fmla="*/ 30 h 689"/>
                <a:gd name="T12" fmla="*/ 47 w 918"/>
                <a:gd name="T13" fmla="*/ 37 h 689"/>
                <a:gd name="T14" fmla="*/ 45 w 918"/>
                <a:gd name="T15" fmla="*/ 38 h 689"/>
                <a:gd name="T16" fmla="*/ 34 w 918"/>
                <a:gd name="T17" fmla="*/ 38 h 689"/>
                <a:gd name="T18" fmla="*/ 29 w 918"/>
                <a:gd name="T19" fmla="*/ 36 h 689"/>
                <a:gd name="T20" fmla="*/ 21 w 918"/>
                <a:gd name="T21" fmla="*/ 34 h 689"/>
                <a:gd name="T22" fmla="*/ 17 w 918"/>
                <a:gd name="T23" fmla="*/ 28 h 689"/>
                <a:gd name="T24" fmla="*/ 20 w 918"/>
                <a:gd name="T25" fmla="*/ 27 h 689"/>
                <a:gd name="T26" fmla="*/ 22 w 918"/>
                <a:gd name="T27" fmla="*/ 25 h 689"/>
                <a:gd name="T28" fmla="*/ 30 w 918"/>
                <a:gd name="T29" fmla="*/ 21 h 689"/>
                <a:gd name="T30" fmla="*/ 27 w 918"/>
                <a:gd name="T31" fmla="*/ 17 h 689"/>
                <a:gd name="T32" fmla="*/ 22 w 918"/>
                <a:gd name="T33" fmla="*/ 20 h 689"/>
                <a:gd name="T34" fmla="*/ 15 w 918"/>
                <a:gd name="T35" fmla="*/ 27 h 689"/>
                <a:gd name="T36" fmla="*/ 8 w 918"/>
                <a:gd name="T37" fmla="*/ 24 h 689"/>
                <a:gd name="T38" fmla="*/ 3 w 918"/>
                <a:gd name="T39" fmla="*/ 21 h 689"/>
                <a:gd name="T40" fmla="*/ 0 w 918"/>
                <a:gd name="T41" fmla="*/ 17 h 689"/>
                <a:gd name="T42" fmla="*/ 0 w 918"/>
                <a:gd name="T43" fmla="*/ 14 h 689"/>
                <a:gd name="T44" fmla="*/ 0 w 918"/>
                <a:gd name="T45" fmla="*/ 11 h 689"/>
                <a:gd name="T46" fmla="*/ 7 w 918"/>
                <a:gd name="T47" fmla="*/ 8 h 689"/>
                <a:gd name="T48" fmla="*/ 8 w 918"/>
                <a:gd name="T49" fmla="*/ 9 h 689"/>
                <a:gd name="T50" fmla="*/ 11 w 918"/>
                <a:gd name="T51" fmla="*/ 10 h 689"/>
                <a:gd name="T52" fmla="*/ 15 w 918"/>
                <a:gd name="T53" fmla="*/ 8 h 689"/>
                <a:gd name="T54" fmla="*/ 18 w 918"/>
                <a:gd name="T55" fmla="*/ 6 h 689"/>
                <a:gd name="T56" fmla="*/ 24 w 918"/>
                <a:gd name="T57" fmla="*/ 5 h 689"/>
                <a:gd name="T58" fmla="*/ 23 w 918"/>
                <a:gd name="T59" fmla="*/ 0 h 689"/>
                <a:gd name="T60" fmla="*/ 29 w 918"/>
                <a:gd name="T61" fmla="*/ 2 h 689"/>
                <a:gd name="T62" fmla="*/ 36 w 918"/>
                <a:gd name="T63" fmla="*/ 1 h 689"/>
                <a:gd name="T64" fmla="*/ 36 w 918"/>
                <a:gd name="T65" fmla="*/ 4 h 689"/>
                <a:gd name="T66" fmla="*/ 40 w 918"/>
                <a:gd name="T67" fmla="*/ 4 h 689"/>
                <a:gd name="T68" fmla="*/ 38 w 918"/>
                <a:gd name="T69" fmla="*/ 11 h 689"/>
                <a:gd name="T70" fmla="*/ 44 w 918"/>
                <a:gd name="T71" fmla="*/ 18 h 689"/>
                <a:gd name="T72" fmla="*/ 47 w 918"/>
                <a:gd name="T73" fmla="*/ 23 h 6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18"/>
                <a:gd name="T112" fmla="*/ 0 h 689"/>
                <a:gd name="T113" fmla="*/ 918 w 918"/>
                <a:gd name="T114" fmla="*/ 689 h 6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18" h="689">
                  <a:moveTo>
                    <a:pt x="866" y="436"/>
                  </a:moveTo>
                  <a:lnTo>
                    <a:pt x="863" y="465"/>
                  </a:lnTo>
                  <a:lnTo>
                    <a:pt x="918" y="527"/>
                  </a:lnTo>
                  <a:lnTo>
                    <a:pt x="914" y="585"/>
                  </a:lnTo>
                  <a:lnTo>
                    <a:pt x="912" y="614"/>
                  </a:lnTo>
                  <a:lnTo>
                    <a:pt x="856" y="611"/>
                  </a:lnTo>
                  <a:lnTo>
                    <a:pt x="805" y="521"/>
                  </a:lnTo>
                  <a:lnTo>
                    <a:pt x="833" y="521"/>
                  </a:lnTo>
                  <a:lnTo>
                    <a:pt x="780" y="461"/>
                  </a:lnTo>
                  <a:lnTo>
                    <a:pt x="724" y="458"/>
                  </a:lnTo>
                  <a:lnTo>
                    <a:pt x="751" y="488"/>
                  </a:lnTo>
                  <a:lnTo>
                    <a:pt x="777" y="519"/>
                  </a:lnTo>
                  <a:lnTo>
                    <a:pt x="828" y="610"/>
                  </a:lnTo>
                  <a:lnTo>
                    <a:pt x="827" y="639"/>
                  </a:lnTo>
                  <a:lnTo>
                    <a:pt x="824" y="669"/>
                  </a:lnTo>
                  <a:lnTo>
                    <a:pt x="796" y="668"/>
                  </a:lnTo>
                  <a:lnTo>
                    <a:pt x="656" y="689"/>
                  </a:lnTo>
                  <a:lnTo>
                    <a:pt x="600" y="657"/>
                  </a:lnTo>
                  <a:lnTo>
                    <a:pt x="572" y="656"/>
                  </a:lnTo>
                  <a:lnTo>
                    <a:pt x="518" y="623"/>
                  </a:lnTo>
                  <a:lnTo>
                    <a:pt x="435" y="590"/>
                  </a:lnTo>
                  <a:lnTo>
                    <a:pt x="378" y="586"/>
                  </a:lnTo>
                  <a:lnTo>
                    <a:pt x="352" y="556"/>
                  </a:lnTo>
                  <a:lnTo>
                    <a:pt x="299" y="494"/>
                  </a:lnTo>
                  <a:lnTo>
                    <a:pt x="330" y="466"/>
                  </a:lnTo>
                  <a:lnTo>
                    <a:pt x="358" y="468"/>
                  </a:lnTo>
                  <a:lnTo>
                    <a:pt x="385" y="469"/>
                  </a:lnTo>
                  <a:lnTo>
                    <a:pt x="386" y="440"/>
                  </a:lnTo>
                  <a:lnTo>
                    <a:pt x="445" y="385"/>
                  </a:lnTo>
                  <a:lnTo>
                    <a:pt x="532" y="360"/>
                  </a:lnTo>
                  <a:lnTo>
                    <a:pt x="533" y="330"/>
                  </a:lnTo>
                  <a:lnTo>
                    <a:pt x="479" y="298"/>
                  </a:lnTo>
                  <a:lnTo>
                    <a:pt x="395" y="293"/>
                  </a:lnTo>
                  <a:lnTo>
                    <a:pt x="391" y="351"/>
                  </a:lnTo>
                  <a:lnTo>
                    <a:pt x="331" y="437"/>
                  </a:lnTo>
                  <a:lnTo>
                    <a:pt x="273" y="463"/>
                  </a:lnTo>
                  <a:lnTo>
                    <a:pt x="190" y="429"/>
                  </a:lnTo>
                  <a:lnTo>
                    <a:pt x="134" y="427"/>
                  </a:lnTo>
                  <a:lnTo>
                    <a:pt x="108" y="397"/>
                  </a:lnTo>
                  <a:lnTo>
                    <a:pt x="52" y="363"/>
                  </a:lnTo>
                  <a:lnTo>
                    <a:pt x="26" y="333"/>
                  </a:lnTo>
                  <a:lnTo>
                    <a:pt x="0" y="302"/>
                  </a:lnTo>
                  <a:lnTo>
                    <a:pt x="29" y="304"/>
                  </a:lnTo>
                  <a:lnTo>
                    <a:pt x="3" y="243"/>
                  </a:lnTo>
                  <a:lnTo>
                    <a:pt x="32" y="215"/>
                  </a:lnTo>
                  <a:lnTo>
                    <a:pt x="6" y="185"/>
                  </a:lnTo>
                  <a:lnTo>
                    <a:pt x="94" y="131"/>
                  </a:lnTo>
                  <a:lnTo>
                    <a:pt x="122" y="132"/>
                  </a:lnTo>
                  <a:lnTo>
                    <a:pt x="119" y="162"/>
                  </a:lnTo>
                  <a:lnTo>
                    <a:pt x="148" y="163"/>
                  </a:lnTo>
                  <a:lnTo>
                    <a:pt x="176" y="165"/>
                  </a:lnTo>
                  <a:lnTo>
                    <a:pt x="204" y="165"/>
                  </a:lnTo>
                  <a:lnTo>
                    <a:pt x="234" y="138"/>
                  </a:lnTo>
                  <a:lnTo>
                    <a:pt x="262" y="140"/>
                  </a:lnTo>
                  <a:lnTo>
                    <a:pt x="290" y="140"/>
                  </a:lnTo>
                  <a:lnTo>
                    <a:pt x="319" y="113"/>
                  </a:lnTo>
                  <a:lnTo>
                    <a:pt x="375" y="117"/>
                  </a:lnTo>
                  <a:lnTo>
                    <a:pt x="434" y="90"/>
                  </a:lnTo>
                  <a:lnTo>
                    <a:pt x="406" y="58"/>
                  </a:lnTo>
                  <a:lnTo>
                    <a:pt x="410" y="0"/>
                  </a:lnTo>
                  <a:lnTo>
                    <a:pt x="494" y="5"/>
                  </a:lnTo>
                  <a:lnTo>
                    <a:pt x="521" y="35"/>
                  </a:lnTo>
                  <a:lnTo>
                    <a:pt x="606" y="10"/>
                  </a:lnTo>
                  <a:lnTo>
                    <a:pt x="634" y="12"/>
                  </a:lnTo>
                  <a:lnTo>
                    <a:pt x="662" y="14"/>
                  </a:lnTo>
                  <a:lnTo>
                    <a:pt x="632" y="70"/>
                  </a:lnTo>
                  <a:lnTo>
                    <a:pt x="659" y="72"/>
                  </a:lnTo>
                  <a:lnTo>
                    <a:pt x="715" y="75"/>
                  </a:lnTo>
                  <a:lnTo>
                    <a:pt x="714" y="104"/>
                  </a:lnTo>
                  <a:lnTo>
                    <a:pt x="682" y="190"/>
                  </a:lnTo>
                  <a:lnTo>
                    <a:pt x="791" y="255"/>
                  </a:lnTo>
                  <a:lnTo>
                    <a:pt x="788" y="314"/>
                  </a:lnTo>
                  <a:lnTo>
                    <a:pt x="842" y="346"/>
                  </a:lnTo>
                  <a:lnTo>
                    <a:pt x="839" y="404"/>
                  </a:lnTo>
                  <a:lnTo>
                    <a:pt x="866" y="436"/>
                  </a:lnTo>
                  <a:close/>
                </a:path>
              </a:pathLst>
            </a:custGeom>
            <a:solidFill>
              <a:srgbClr val="B2C2D1"/>
            </a:solidFill>
            <a:ln w="9525">
              <a:noFill/>
              <a:round/>
              <a:headEnd/>
              <a:tailEnd/>
            </a:ln>
          </p:spPr>
          <p:txBody>
            <a:bodyPr/>
            <a:lstStyle/>
            <a:p>
              <a:endParaRPr lang="el-GR"/>
            </a:p>
          </p:txBody>
        </p:sp>
        <p:sp>
          <p:nvSpPr>
            <p:cNvPr id="181" name="Freeform 58"/>
            <p:cNvSpPr>
              <a:spLocks/>
            </p:cNvSpPr>
            <p:nvPr/>
          </p:nvSpPr>
          <p:spPr bwMode="auto">
            <a:xfrm>
              <a:off x="3559" y="1689"/>
              <a:ext cx="218" cy="165"/>
            </a:xfrm>
            <a:custGeom>
              <a:avLst/>
              <a:gdLst>
                <a:gd name="T0" fmla="*/ 49 w 918"/>
                <a:gd name="T1" fmla="*/ 27 h 689"/>
                <a:gd name="T2" fmla="*/ 52 w 918"/>
                <a:gd name="T3" fmla="*/ 34 h 689"/>
                <a:gd name="T4" fmla="*/ 48 w 918"/>
                <a:gd name="T5" fmla="*/ 35 h 689"/>
                <a:gd name="T6" fmla="*/ 47 w 918"/>
                <a:gd name="T7" fmla="*/ 30 h 689"/>
                <a:gd name="T8" fmla="*/ 41 w 918"/>
                <a:gd name="T9" fmla="*/ 26 h 689"/>
                <a:gd name="T10" fmla="*/ 44 w 918"/>
                <a:gd name="T11" fmla="*/ 30 h 689"/>
                <a:gd name="T12" fmla="*/ 47 w 918"/>
                <a:gd name="T13" fmla="*/ 37 h 689"/>
                <a:gd name="T14" fmla="*/ 45 w 918"/>
                <a:gd name="T15" fmla="*/ 38 h 689"/>
                <a:gd name="T16" fmla="*/ 34 w 918"/>
                <a:gd name="T17" fmla="*/ 38 h 689"/>
                <a:gd name="T18" fmla="*/ 29 w 918"/>
                <a:gd name="T19" fmla="*/ 36 h 689"/>
                <a:gd name="T20" fmla="*/ 21 w 918"/>
                <a:gd name="T21" fmla="*/ 34 h 689"/>
                <a:gd name="T22" fmla="*/ 17 w 918"/>
                <a:gd name="T23" fmla="*/ 28 h 689"/>
                <a:gd name="T24" fmla="*/ 20 w 918"/>
                <a:gd name="T25" fmla="*/ 27 h 689"/>
                <a:gd name="T26" fmla="*/ 22 w 918"/>
                <a:gd name="T27" fmla="*/ 25 h 689"/>
                <a:gd name="T28" fmla="*/ 30 w 918"/>
                <a:gd name="T29" fmla="*/ 21 h 689"/>
                <a:gd name="T30" fmla="*/ 27 w 918"/>
                <a:gd name="T31" fmla="*/ 17 h 689"/>
                <a:gd name="T32" fmla="*/ 22 w 918"/>
                <a:gd name="T33" fmla="*/ 20 h 689"/>
                <a:gd name="T34" fmla="*/ 15 w 918"/>
                <a:gd name="T35" fmla="*/ 27 h 689"/>
                <a:gd name="T36" fmla="*/ 8 w 918"/>
                <a:gd name="T37" fmla="*/ 24 h 689"/>
                <a:gd name="T38" fmla="*/ 3 w 918"/>
                <a:gd name="T39" fmla="*/ 21 h 689"/>
                <a:gd name="T40" fmla="*/ 0 w 918"/>
                <a:gd name="T41" fmla="*/ 17 h 689"/>
                <a:gd name="T42" fmla="*/ 0 w 918"/>
                <a:gd name="T43" fmla="*/ 14 h 689"/>
                <a:gd name="T44" fmla="*/ 0 w 918"/>
                <a:gd name="T45" fmla="*/ 11 h 689"/>
                <a:gd name="T46" fmla="*/ 7 w 918"/>
                <a:gd name="T47" fmla="*/ 8 h 689"/>
                <a:gd name="T48" fmla="*/ 8 w 918"/>
                <a:gd name="T49" fmla="*/ 9 h 689"/>
                <a:gd name="T50" fmla="*/ 11 w 918"/>
                <a:gd name="T51" fmla="*/ 10 h 689"/>
                <a:gd name="T52" fmla="*/ 15 w 918"/>
                <a:gd name="T53" fmla="*/ 8 h 689"/>
                <a:gd name="T54" fmla="*/ 18 w 918"/>
                <a:gd name="T55" fmla="*/ 6 h 689"/>
                <a:gd name="T56" fmla="*/ 24 w 918"/>
                <a:gd name="T57" fmla="*/ 5 h 689"/>
                <a:gd name="T58" fmla="*/ 23 w 918"/>
                <a:gd name="T59" fmla="*/ 0 h 689"/>
                <a:gd name="T60" fmla="*/ 29 w 918"/>
                <a:gd name="T61" fmla="*/ 2 h 689"/>
                <a:gd name="T62" fmla="*/ 36 w 918"/>
                <a:gd name="T63" fmla="*/ 1 h 689"/>
                <a:gd name="T64" fmla="*/ 36 w 918"/>
                <a:gd name="T65" fmla="*/ 4 h 689"/>
                <a:gd name="T66" fmla="*/ 40 w 918"/>
                <a:gd name="T67" fmla="*/ 4 h 689"/>
                <a:gd name="T68" fmla="*/ 38 w 918"/>
                <a:gd name="T69" fmla="*/ 11 h 689"/>
                <a:gd name="T70" fmla="*/ 44 w 918"/>
                <a:gd name="T71" fmla="*/ 18 h 689"/>
                <a:gd name="T72" fmla="*/ 47 w 918"/>
                <a:gd name="T73" fmla="*/ 23 h 68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18"/>
                <a:gd name="T112" fmla="*/ 0 h 689"/>
                <a:gd name="T113" fmla="*/ 918 w 918"/>
                <a:gd name="T114" fmla="*/ 689 h 68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18" h="689">
                  <a:moveTo>
                    <a:pt x="866" y="436"/>
                  </a:moveTo>
                  <a:lnTo>
                    <a:pt x="863" y="465"/>
                  </a:lnTo>
                  <a:lnTo>
                    <a:pt x="918" y="527"/>
                  </a:lnTo>
                  <a:lnTo>
                    <a:pt x="914" y="585"/>
                  </a:lnTo>
                  <a:lnTo>
                    <a:pt x="912" y="614"/>
                  </a:lnTo>
                  <a:lnTo>
                    <a:pt x="856" y="611"/>
                  </a:lnTo>
                  <a:lnTo>
                    <a:pt x="805" y="521"/>
                  </a:lnTo>
                  <a:lnTo>
                    <a:pt x="833" y="521"/>
                  </a:lnTo>
                  <a:lnTo>
                    <a:pt x="780" y="461"/>
                  </a:lnTo>
                  <a:lnTo>
                    <a:pt x="724" y="458"/>
                  </a:lnTo>
                  <a:lnTo>
                    <a:pt x="751" y="488"/>
                  </a:lnTo>
                  <a:lnTo>
                    <a:pt x="777" y="519"/>
                  </a:lnTo>
                  <a:lnTo>
                    <a:pt x="828" y="610"/>
                  </a:lnTo>
                  <a:lnTo>
                    <a:pt x="827" y="639"/>
                  </a:lnTo>
                  <a:lnTo>
                    <a:pt x="824" y="669"/>
                  </a:lnTo>
                  <a:lnTo>
                    <a:pt x="796" y="668"/>
                  </a:lnTo>
                  <a:lnTo>
                    <a:pt x="656" y="689"/>
                  </a:lnTo>
                  <a:lnTo>
                    <a:pt x="600" y="657"/>
                  </a:lnTo>
                  <a:lnTo>
                    <a:pt x="572" y="656"/>
                  </a:lnTo>
                  <a:lnTo>
                    <a:pt x="518" y="623"/>
                  </a:lnTo>
                  <a:lnTo>
                    <a:pt x="435" y="590"/>
                  </a:lnTo>
                  <a:lnTo>
                    <a:pt x="378" y="586"/>
                  </a:lnTo>
                  <a:lnTo>
                    <a:pt x="352" y="556"/>
                  </a:lnTo>
                  <a:lnTo>
                    <a:pt x="299" y="494"/>
                  </a:lnTo>
                  <a:lnTo>
                    <a:pt x="330" y="466"/>
                  </a:lnTo>
                  <a:lnTo>
                    <a:pt x="358" y="468"/>
                  </a:lnTo>
                  <a:lnTo>
                    <a:pt x="385" y="469"/>
                  </a:lnTo>
                  <a:lnTo>
                    <a:pt x="386" y="440"/>
                  </a:lnTo>
                  <a:lnTo>
                    <a:pt x="445" y="385"/>
                  </a:lnTo>
                  <a:lnTo>
                    <a:pt x="532" y="360"/>
                  </a:lnTo>
                  <a:lnTo>
                    <a:pt x="533" y="330"/>
                  </a:lnTo>
                  <a:lnTo>
                    <a:pt x="479" y="298"/>
                  </a:lnTo>
                  <a:lnTo>
                    <a:pt x="395" y="293"/>
                  </a:lnTo>
                  <a:lnTo>
                    <a:pt x="391" y="351"/>
                  </a:lnTo>
                  <a:lnTo>
                    <a:pt x="331" y="437"/>
                  </a:lnTo>
                  <a:lnTo>
                    <a:pt x="273" y="463"/>
                  </a:lnTo>
                  <a:lnTo>
                    <a:pt x="190" y="429"/>
                  </a:lnTo>
                  <a:lnTo>
                    <a:pt x="134" y="427"/>
                  </a:lnTo>
                  <a:lnTo>
                    <a:pt x="108" y="397"/>
                  </a:lnTo>
                  <a:lnTo>
                    <a:pt x="52" y="363"/>
                  </a:lnTo>
                  <a:lnTo>
                    <a:pt x="26" y="333"/>
                  </a:lnTo>
                  <a:lnTo>
                    <a:pt x="0" y="302"/>
                  </a:lnTo>
                  <a:lnTo>
                    <a:pt x="29" y="304"/>
                  </a:lnTo>
                  <a:lnTo>
                    <a:pt x="3" y="243"/>
                  </a:lnTo>
                  <a:lnTo>
                    <a:pt x="32" y="215"/>
                  </a:lnTo>
                  <a:lnTo>
                    <a:pt x="6" y="185"/>
                  </a:lnTo>
                  <a:lnTo>
                    <a:pt x="94" y="131"/>
                  </a:lnTo>
                  <a:lnTo>
                    <a:pt x="122" y="132"/>
                  </a:lnTo>
                  <a:lnTo>
                    <a:pt x="119" y="162"/>
                  </a:lnTo>
                  <a:lnTo>
                    <a:pt x="148" y="163"/>
                  </a:lnTo>
                  <a:lnTo>
                    <a:pt x="176" y="165"/>
                  </a:lnTo>
                  <a:lnTo>
                    <a:pt x="204" y="165"/>
                  </a:lnTo>
                  <a:lnTo>
                    <a:pt x="234" y="138"/>
                  </a:lnTo>
                  <a:lnTo>
                    <a:pt x="262" y="140"/>
                  </a:lnTo>
                  <a:lnTo>
                    <a:pt x="290" y="140"/>
                  </a:lnTo>
                  <a:lnTo>
                    <a:pt x="319" y="113"/>
                  </a:lnTo>
                  <a:lnTo>
                    <a:pt x="375" y="117"/>
                  </a:lnTo>
                  <a:lnTo>
                    <a:pt x="434" y="90"/>
                  </a:lnTo>
                  <a:lnTo>
                    <a:pt x="406" y="58"/>
                  </a:lnTo>
                  <a:lnTo>
                    <a:pt x="410" y="0"/>
                  </a:lnTo>
                  <a:lnTo>
                    <a:pt x="494" y="5"/>
                  </a:lnTo>
                  <a:lnTo>
                    <a:pt x="521" y="35"/>
                  </a:lnTo>
                  <a:lnTo>
                    <a:pt x="606" y="10"/>
                  </a:lnTo>
                  <a:lnTo>
                    <a:pt x="634" y="12"/>
                  </a:lnTo>
                  <a:lnTo>
                    <a:pt x="662" y="14"/>
                  </a:lnTo>
                  <a:lnTo>
                    <a:pt x="632" y="70"/>
                  </a:lnTo>
                  <a:lnTo>
                    <a:pt x="659" y="72"/>
                  </a:lnTo>
                  <a:lnTo>
                    <a:pt x="715" y="75"/>
                  </a:lnTo>
                  <a:lnTo>
                    <a:pt x="714" y="104"/>
                  </a:lnTo>
                  <a:lnTo>
                    <a:pt x="682" y="190"/>
                  </a:lnTo>
                  <a:lnTo>
                    <a:pt x="791" y="255"/>
                  </a:lnTo>
                  <a:lnTo>
                    <a:pt x="788" y="314"/>
                  </a:lnTo>
                  <a:lnTo>
                    <a:pt x="842" y="346"/>
                  </a:lnTo>
                  <a:lnTo>
                    <a:pt x="839" y="404"/>
                  </a:lnTo>
                  <a:lnTo>
                    <a:pt x="866" y="436"/>
                  </a:lnTo>
                </a:path>
              </a:pathLst>
            </a:custGeom>
            <a:solidFill>
              <a:srgbClr val="B2C2D1"/>
            </a:solidFill>
            <a:ln w="9525">
              <a:noFill/>
              <a:round/>
              <a:headEnd/>
              <a:tailEnd/>
            </a:ln>
          </p:spPr>
          <p:txBody>
            <a:bodyPr/>
            <a:lstStyle/>
            <a:p>
              <a:endParaRPr lang="el-GR"/>
            </a:p>
          </p:txBody>
        </p:sp>
        <p:sp>
          <p:nvSpPr>
            <p:cNvPr id="182" name="Freeform 59"/>
            <p:cNvSpPr>
              <a:spLocks/>
            </p:cNvSpPr>
            <p:nvPr/>
          </p:nvSpPr>
          <p:spPr bwMode="auto">
            <a:xfrm>
              <a:off x="3525" y="1991"/>
              <a:ext cx="100" cy="168"/>
            </a:xfrm>
            <a:custGeom>
              <a:avLst/>
              <a:gdLst>
                <a:gd name="T0" fmla="*/ 7 w 421"/>
                <a:gd name="T1" fmla="*/ 13 h 702"/>
                <a:gd name="T2" fmla="*/ 9 w 421"/>
                <a:gd name="T3" fmla="*/ 17 h 702"/>
                <a:gd name="T4" fmla="*/ 10 w 421"/>
                <a:gd name="T5" fmla="*/ 18 h 702"/>
                <a:gd name="T6" fmla="*/ 10 w 421"/>
                <a:gd name="T7" fmla="*/ 23 h 702"/>
                <a:gd name="T8" fmla="*/ 8 w 421"/>
                <a:gd name="T9" fmla="*/ 27 h 702"/>
                <a:gd name="T10" fmla="*/ 5 w 421"/>
                <a:gd name="T11" fmla="*/ 27 h 702"/>
                <a:gd name="T12" fmla="*/ 2 w 421"/>
                <a:gd name="T13" fmla="*/ 30 h 702"/>
                <a:gd name="T14" fmla="*/ 0 w 421"/>
                <a:gd name="T15" fmla="*/ 31 h 702"/>
                <a:gd name="T16" fmla="*/ 2 w 421"/>
                <a:gd name="T17" fmla="*/ 31 h 702"/>
                <a:gd name="T18" fmla="*/ 2 w 421"/>
                <a:gd name="T19" fmla="*/ 33 h 702"/>
                <a:gd name="T20" fmla="*/ 3 w 421"/>
                <a:gd name="T21" fmla="*/ 33 h 702"/>
                <a:gd name="T22" fmla="*/ 5 w 421"/>
                <a:gd name="T23" fmla="*/ 35 h 702"/>
                <a:gd name="T24" fmla="*/ 6 w 421"/>
                <a:gd name="T25" fmla="*/ 35 h 702"/>
                <a:gd name="T26" fmla="*/ 6 w 421"/>
                <a:gd name="T27" fmla="*/ 38 h 702"/>
                <a:gd name="T28" fmla="*/ 8 w 421"/>
                <a:gd name="T29" fmla="*/ 38 h 702"/>
                <a:gd name="T30" fmla="*/ 11 w 421"/>
                <a:gd name="T31" fmla="*/ 40 h 702"/>
                <a:gd name="T32" fmla="*/ 11 w 421"/>
                <a:gd name="T33" fmla="*/ 37 h 702"/>
                <a:gd name="T34" fmla="*/ 13 w 421"/>
                <a:gd name="T35" fmla="*/ 35 h 702"/>
                <a:gd name="T36" fmla="*/ 16 w 421"/>
                <a:gd name="T37" fmla="*/ 35 h 702"/>
                <a:gd name="T38" fmla="*/ 18 w 421"/>
                <a:gd name="T39" fmla="*/ 34 h 702"/>
                <a:gd name="T40" fmla="*/ 16 w 421"/>
                <a:gd name="T41" fmla="*/ 30 h 702"/>
                <a:gd name="T42" fmla="*/ 19 w 421"/>
                <a:gd name="T43" fmla="*/ 27 h 702"/>
                <a:gd name="T44" fmla="*/ 21 w 421"/>
                <a:gd name="T45" fmla="*/ 28 h 702"/>
                <a:gd name="T46" fmla="*/ 21 w 421"/>
                <a:gd name="T47" fmla="*/ 26 h 702"/>
                <a:gd name="T48" fmla="*/ 21 w 421"/>
                <a:gd name="T49" fmla="*/ 24 h 702"/>
                <a:gd name="T50" fmla="*/ 21 w 421"/>
                <a:gd name="T51" fmla="*/ 21 h 702"/>
                <a:gd name="T52" fmla="*/ 20 w 421"/>
                <a:gd name="T53" fmla="*/ 16 h 702"/>
                <a:gd name="T54" fmla="*/ 22 w 421"/>
                <a:gd name="T55" fmla="*/ 12 h 702"/>
                <a:gd name="T56" fmla="*/ 20 w 421"/>
                <a:gd name="T57" fmla="*/ 9 h 702"/>
                <a:gd name="T58" fmla="*/ 22 w 421"/>
                <a:gd name="T59" fmla="*/ 9 h 702"/>
                <a:gd name="T60" fmla="*/ 22 w 421"/>
                <a:gd name="T61" fmla="*/ 7 h 702"/>
                <a:gd name="T62" fmla="*/ 24 w 421"/>
                <a:gd name="T63" fmla="*/ 6 h 702"/>
                <a:gd name="T64" fmla="*/ 22 w 421"/>
                <a:gd name="T65" fmla="*/ 4 h 702"/>
                <a:gd name="T66" fmla="*/ 21 w 421"/>
                <a:gd name="T67" fmla="*/ 4 h 702"/>
                <a:gd name="T68" fmla="*/ 20 w 421"/>
                <a:gd name="T69" fmla="*/ 6 h 702"/>
                <a:gd name="T70" fmla="*/ 19 w 421"/>
                <a:gd name="T71" fmla="*/ 2 h 702"/>
                <a:gd name="T72" fmla="*/ 18 w 421"/>
                <a:gd name="T73" fmla="*/ 0 h 702"/>
                <a:gd name="T74" fmla="*/ 16 w 421"/>
                <a:gd name="T75" fmla="*/ 0 h 702"/>
                <a:gd name="T76" fmla="*/ 13 w 421"/>
                <a:gd name="T77" fmla="*/ 0 h 702"/>
                <a:gd name="T78" fmla="*/ 10 w 421"/>
                <a:gd name="T79" fmla="*/ 0 h 702"/>
                <a:gd name="T80" fmla="*/ 3 w 421"/>
                <a:gd name="T81" fmla="*/ 1 h 702"/>
                <a:gd name="T82" fmla="*/ 2 w 421"/>
                <a:gd name="T83" fmla="*/ 1 h 702"/>
                <a:gd name="T84" fmla="*/ 0 w 421"/>
                <a:gd name="T85" fmla="*/ 3 h 702"/>
                <a:gd name="T86" fmla="*/ 1 w 421"/>
                <a:gd name="T87" fmla="*/ 8 h 702"/>
                <a:gd name="T88" fmla="*/ 3 w 421"/>
                <a:gd name="T89" fmla="*/ 10 h 702"/>
                <a:gd name="T90" fmla="*/ 6 w 421"/>
                <a:gd name="T91" fmla="*/ 10 h 702"/>
                <a:gd name="T92" fmla="*/ 7 w 421"/>
                <a:gd name="T93" fmla="*/ 13 h 7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1"/>
                <a:gd name="T142" fmla="*/ 0 h 702"/>
                <a:gd name="T143" fmla="*/ 421 w 421"/>
                <a:gd name="T144" fmla="*/ 702 h 7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1" h="702">
                  <a:moveTo>
                    <a:pt x="131" y="232"/>
                  </a:moveTo>
                  <a:lnTo>
                    <a:pt x="156" y="292"/>
                  </a:lnTo>
                  <a:lnTo>
                    <a:pt x="185" y="322"/>
                  </a:lnTo>
                  <a:lnTo>
                    <a:pt x="179" y="410"/>
                  </a:lnTo>
                  <a:lnTo>
                    <a:pt x="148" y="467"/>
                  </a:lnTo>
                  <a:lnTo>
                    <a:pt x="91" y="464"/>
                  </a:lnTo>
                  <a:lnTo>
                    <a:pt x="33" y="519"/>
                  </a:lnTo>
                  <a:lnTo>
                    <a:pt x="3" y="546"/>
                  </a:lnTo>
                  <a:lnTo>
                    <a:pt x="31" y="548"/>
                  </a:lnTo>
                  <a:lnTo>
                    <a:pt x="30" y="577"/>
                  </a:lnTo>
                  <a:lnTo>
                    <a:pt x="58" y="579"/>
                  </a:lnTo>
                  <a:lnTo>
                    <a:pt x="84" y="609"/>
                  </a:lnTo>
                  <a:lnTo>
                    <a:pt x="112" y="611"/>
                  </a:lnTo>
                  <a:lnTo>
                    <a:pt x="109" y="669"/>
                  </a:lnTo>
                  <a:lnTo>
                    <a:pt x="137" y="670"/>
                  </a:lnTo>
                  <a:lnTo>
                    <a:pt x="192" y="702"/>
                  </a:lnTo>
                  <a:lnTo>
                    <a:pt x="195" y="644"/>
                  </a:lnTo>
                  <a:lnTo>
                    <a:pt x="225" y="616"/>
                  </a:lnTo>
                  <a:lnTo>
                    <a:pt x="280" y="620"/>
                  </a:lnTo>
                  <a:lnTo>
                    <a:pt x="310" y="591"/>
                  </a:lnTo>
                  <a:lnTo>
                    <a:pt x="285" y="532"/>
                  </a:lnTo>
                  <a:lnTo>
                    <a:pt x="345" y="477"/>
                  </a:lnTo>
                  <a:lnTo>
                    <a:pt x="373" y="479"/>
                  </a:lnTo>
                  <a:lnTo>
                    <a:pt x="375" y="448"/>
                  </a:lnTo>
                  <a:lnTo>
                    <a:pt x="376" y="419"/>
                  </a:lnTo>
                  <a:lnTo>
                    <a:pt x="378" y="361"/>
                  </a:lnTo>
                  <a:lnTo>
                    <a:pt x="356" y="272"/>
                  </a:lnTo>
                  <a:lnTo>
                    <a:pt x="387" y="216"/>
                  </a:lnTo>
                  <a:lnTo>
                    <a:pt x="362" y="156"/>
                  </a:lnTo>
                  <a:lnTo>
                    <a:pt x="389" y="157"/>
                  </a:lnTo>
                  <a:lnTo>
                    <a:pt x="390" y="128"/>
                  </a:lnTo>
                  <a:lnTo>
                    <a:pt x="421" y="100"/>
                  </a:lnTo>
                  <a:lnTo>
                    <a:pt x="395" y="70"/>
                  </a:lnTo>
                  <a:lnTo>
                    <a:pt x="366" y="69"/>
                  </a:lnTo>
                  <a:lnTo>
                    <a:pt x="364" y="98"/>
                  </a:lnTo>
                  <a:lnTo>
                    <a:pt x="339" y="38"/>
                  </a:lnTo>
                  <a:lnTo>
                    <a:pt x="313" y="7"/>
                  </a:lnTo>
                  <a:lnTo>
                    <a:pt x="285" y="6"/>
                  </a:lnTo>
                  <a:lnTo>
                    <a:pt x="229" y="3"/>
                  </a:lnTo>
                  <a:lnTo>
                    <a:pt x="173" y="0"/>
                  </a:lnTo>
                  <a:lnTo>
                    <a:pt x="59" y="23"/>
                  </a:lnTo>
                  <a:lnTo>
                    <a:pt x="31" y="22"/>
                  </a:lnTo>
                  <a:lnTo>
                    <a:pt x="0" y="50"/>
                  </a:lnTo>
                  <a:lnTo>
                    <a:pt x="24" y="138"/>
                  </a:lnTo>
                  <a:lnTo>
                    <a:pt x="50" y="169"/>
                  </a:lnTo>
                  <a:lnTo>
                    <a:pt x="107" y="172"/>
                  </a:lnTo>
                  <a:lnTo>
                    <a:pt x="131" y="232"/>
                  </a:lnTo>
                  <a:close/>
                </a:path>
              </a:pathLst>
            </a:custGeom>
            <a:solidFill>
              <a:srgbClr val="B2C2D1"/>
            </a:solidFill>
            <a:ln w="9525">
              <a:noFill/>
              <a:round/>
              <a:headEnd/>
              <a:tailEnd/>
            </a:ln>
          </p:spPr>
          <p:txBody>
            <a:bodyPr/>
            <a:lstStyle/>
            <a:p>
              <a:endParaRPr lang="el-GR"/>
            </a:p>
          </p:txBody>
        </p:sp>
        <p:sp>
          <p:nvSpPr>
            <p:cNvPr id="183" name="Freeform 60"/>
            <p:cNvSpPr>
              <a:spLocks/>
            </p:cNvSpPr>
            <p:nvPr/>
          </p:nvSpPr>
          <p:spPr bwMode="auto">
            <a:xfrm>
              <a:off x="3525" y="1991"/>
              <a:ext cx="100" cy="168"/>
            </a:xfrm>
            <a:custGeom>
              <a:avLst/>
              <a:gdLst>
                <a:gd name="T0" fmla="*/ 7 w 421"/>
                <a:gd name="T1" fmla="*/ 13 h 702"/>
                <a:gd name="T2" fmla="*/ 9 w 421"/>
                <a:gd name="T3" fmla="*/ 17 h 702"/>
                <a:gd name="T4" fmla="*/ 10 w 421"/>
                <a:gd name="T5" fmla="*/ 18 h 702"/>
                <a:gd name="T6" fmla="*/ 10 w 421"/>
                <a:gd name="T7" fmla="*/ 23 h 702"/>
                <a:gd name="T8" fmla="*/ 8 w 421"/>
                <a:gd name="T9" fmla="*/ 27 h 702"/>
                <a:gd name="T10" fmla="*/ 5 w 421"/>
                <a:gd name="T11" fmla="*/ 27 h 702"/>
                <a:gd name="T12" fmla="*/ 2 w 421"/>
                <a:gd name="T13" fmla="*/ 30 h 702"/>
                <a:gd name="T14" fmla="*/ 0 w 421"/>
                <a:gd name="T15" fmla="*/ 31 h 702"/>
                <a:gd name="T16" fmla="*/ 2 w 421"/>
                <a:gd name="T17" fmla="*/ 31 h 702"/>
                <a:gd name="T18" fmla="*/ 2 w 421"/>
                <a:gd name="T19" fmla="*/ 33 h 702"/>
                <a:gd name="T20" fmla="*/ 3 w 421"/>
                <a:gd name="T21" fmla="*/ 33 h 702"/>
                <a:gd name="T22" fmla="*/ 5 w 421"/>
                <a:gd name="T23" fmla="*/ 35 h 702"/>
                <a:gd name="T24" fmla="*/ 6 w 421"/>
                <a:gd name="T25" fmla="*/ 35 h 702"/>
                <a:gd name="T26" fmla="*/ 6 w 421"/>
                <a:gd name="T27" fmla="*/ 38 h 702"/>
                <a:gd name="T28" fmla="*/ 8 w 421"/>
                <a:gd name="T29" fmla="*/ 38 h 702"/>
                <a:gd name="T30" fmla="*/ 11 w 421"/>
                <a:gd name="T31" fmla="*/ 40 h 702"/>
                <a:gd name="T32" fmla="*/ 11 w 421"/>
                <a:gd name="T33" fmla="*/ 37 h 702"/>
                <a:gd name="T34" fmla="*/ 13 w 421"/>
                <a:gd name="T35" fmla="*/ 35 h 702"/>
                <a:gd name="T36" fmla="*/ 16 w 421"/>
                <a:gd name="T37" fmla="*/ 35 h 702"/>
                <a:gd name="T38" fmla="*/ 18 w 421"/>
                <a:gd name="T39" fmla="*/ 34 h 702"/>
                <a:gd name="T40" fmla="*/ 16 w 421"/>
                <a:gd name="T41" fmla="*/ 30 h 702"/>
                <a:gd name="T42" fmla="*/ 19 w 421"/>
                <a:gd name="T43" fmla="*/ 27 h 702"/>
                <a:gd name="T44" fmla="*/ 21 w 421"/>
                <a:gd name="T45" fmla="*/ 28 h 702"/>
                <a:gd name="T46" fmla="*/ 21 w 421"/>
                <a:gd name="T47" fmla="*/ 26 h 702"/>
                <a:gd name="T48" fmla="*/ 21 w 421"/>
                <a:gd name="T49" fmla="*/ 24 h 702"/>
                <a:gd name="T50" fmla="*/ 21 w 421"/>
                <a:gd name="T51" fmla="*/ 21 h 702"/>
                <a:gd name="T52" fmla="*/ 20 w 421"/>
                <a:gd name="T53" fmla="*/ 16 h 702"/>
                <a:gd name="T54" fmla="*/ 22 w 421"/>
                <a:gd name="T55" fmla="*/ 12 h 702"/>
                <a:gd name="T56" fmla="*/ 20 w 421"/>
                <a:gd name="T57" fmla="*/ 9 h 702"/>
                <a:gd name="T58" fmla="*/ 22 w 421"/>
                <a:gd name="T59" fmla="*/ 9 h 702"/>
                <a:gd name="T60" fmla="*/ 22 w 421"/>
                <a:gd name="T61" fmla="*/ 7 h 702"/>
                <a:gd name="T62" fmla="*/ 24 w 421"/>
                <a:gd name="T63" fmla="*/ 6 h 702"/>
                <a:gd name="T64" fmla="*/ 22 w 421"/>
                <a:gd name="T65" fmla="*/ 4 h 702"/>
                <a:gd name="T66" fmla="*/ 21 w 421"/>
                <a:gd name="T67" fmla="*/ 4 h 702"/>
                <a:gd name="T68" fmla="*/ 20 w 421"/>
                <a:gd name="T69" fmla="*/ 6 h 702"/>
                <a:gd name="T70" fmla="*/ 19 w 421"/>
                <a:gd name="T71" fmla="*/ 2 h 702"/>
                <a:gd name="T72" fmla="*/ 18 w 421"/>
                <a:gd name="T73" fmla="*/ 0 h 702"/>
                <a:gd name="T74" fmla="*/ 16 w 421"/>
                <a:gd name="T75" fmla="*/ 0 h 702"/>
                <a:gd name="T76" fmla="*/ 13 w 421"/>
                <a:gd name="T77" fmla="*/ 0 h 702"/>
                <a:gd name="T78" fmla="*/ 10 w 421"/>
                <a:gd name="T79" fmla="*/ 0 h 702"/>
                <a:gd name="T80" fmla="*/ 3 w 421"/>
                <a:gd name="T81" fmla="*/ 1 h 702"/>
                <a:gd name="T82" fmla="*/ 2 w 421"/>
                <a:gd name="T83" fmla="*/ 1 h 702"/>
                <a:gd name="T84" fmla="*/ 0 w 421"/>
                <a:gd name="T85" fmla="*/ 3 h 702"/>
                <a:gd name="T86" fmla="*/ 1 w 421"/>
                <a:gd name="T87" fmla="*/ 8 h 702"/>
                <a:gd name="T88" fmla="*/ 3 w 421"/>
                <a:gd name="T89" fmla="*/ 10 h 702"/>
                <a:gd name="T90" fmla="*/ 6 w 421"/>
                <a:gd name="T91" fmla="*/ 10 h 702"/>
                <a:gd name="T92" fmla="*/ 7 w 421"/>
                <a:gd name="T93" fmla="*/ 13 h 70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1"/>
                <a:gd name="T142" fmla="*/ 0 h 702"/>
                <a:gd name="T143" fmla="*/ 421 w 421"/>
                <a:gd name="T144" fmla="*/ 702 h 70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1" h="702">
                  <a:moveTo>
                    <a:pt x="131" y="232"/>
                  </a:moveTo>
                  <a:lnTo>
                    <a:pt x="156" y="292"/>
                  </a:lnTo>
                  <a:lnTo>
                    <a:pt x="185" y="322"/>
                  </a:lnTo>
                  <a:lnTo>
                    <a:pt x="179" y="410"/>
                  </a:lnTo>
                  <a:lnTo>
                    <a:pt x="148" y="467"/>
                  </a:lnTo>
                  <a:lnTo>
                    <a:pt x="91" y="464"/>
                  </a:lnTo>
                  <a:lnTo>
                    <a:pt x="33" y="519"/>
                  </a:lnTo>
                  <a:lnTo>
                    <a:pt x="3" y="546"/>
                  </a:lnTo>
                  <a:lnTo>
                    <a:pt x="31" y="548"/>
                  </a:lnTo>
                  <a:lnTo>
                    <a:pt x="30" y="577"/>
                  </a:lnTo>
                  <a:lnTo>
                    <a:pt x="58" y="579"/>
                  </a:lnTo>
                  <a:lnTo>
                    <a:pt x="84" y="609"/>
                  </a:lnTo>
                  <a:lnTo>
                    <a:pt x="112" y="611"/>
                  </a:lnTo>
                  <a:lnTo>
                    <a:pt x="109" y="669"/>
                  </a:lnTo>
                  <a:lnTo>
                    <a:pt x="137" y="670"/>
                  </a:lnTo>
                  <a:lnTo>
                    <a:pt x="192" y="702"/>
                  </a:lnTo>
                  <a:lnTo>
                    <a:pt x="195" y="644"/>
                  </a:lnTo>
                  <a:lnTo>
                    <a:pt x="225" y="616"/>
                  </a:lnTo>
                  <a:lnTo>
                    <a:pt x="280" y="620"/>
                  </a:lnTo>
                  <a:lnTo>
                    <a:pt x="310" y="591"/>
                  </a:lnTo>
                  <a:lnTo>
                    <a:pt x="285" y="532"/>
                  </a:lnTo>
                  <a:lnTo>
                    <a:pt x="345" y="477"/>
                  </a:lnTo>
                  <a:lnTo>
                    <a:pt x="373" y="479"/>
                  </a:lnTo>
                  <a:lnTo>
                    <a:pt x="375" y="448"/>
                  </a:lnTo>
                  <a:lnTo>
                    <a:pt x="376" y="419"/>
                  </a:lnTo>
                  <a:lnTo>
                    <a:pt x="378" y="361"/>
                  </a:lnTo>
                  <a:lnTo>
                    <a:pt x="356" y="272"/>
                  </a:lnTo>
                  <a:lnTo>
                    <a:pt x="387" y="216"/>
                  </a:lnTo>
                  <a:lnTo>
                    <a:pt x="362" y="156"/>
                  </a:lnTo>
                  <a:lnTo>
                    <a:pt x="389" y="157"/>
                  </a:lnTo>
                  <a:lnTo>
                    <a:pt x="390" y="128"/>
                  </a:lnTo>
                  <a:lnTo>
                    <a:pt x="421" y="100"/>
                  </a:lnTo>
                  <a:lnTo>
                    <a:pt x="395" y="70"/>
                  </a:lnTo>
                  <a:lnTo>
                    <a:pt x="366" y="69"/>
                  </a:lnTo>
                  <a:lnTo>
                    <a:pt x="364" y="98"/>
                  </a:lnTo>
                  <a:lnTo>
                    <a:pt x="339" y="38"/>
                  </a:lnTo>
                  <a:lnTo>
                    <a:pt x="313" y="7"/>
                  </a:lnTo>
                  <a:lnTo>
                    <a:pt x="285" y="6"/>
                  </a:lnTo>
                  <a:lnTo>
                    <a:pt x="229" y="3"/>
                  </a:lnTo>
                  <a:lnTo>
                    <a:pt x="173" y="0"/>
                  </a:lnTo>
                  <a:lnTo>
                    <a:pt x="59" y="23"/>
                  </a:lnTo>
                  <a:lnTo>
                    <a:pt x="31" y="22"/>
                  </a:lnTo>
                  <a:lnTo>
                    <a:pt x="0" y="50"/>
                  </a:lnTo>
                  <a:lnTo>
                    <a:pt x="24" y="138"/>
                  </a:lnTo>
                  <a:lnTo>
                    <a:pt x="50" y="169"/>
                  </a:lnTo>
                  <a:lnTo>
                    <a:pt x="107" y="172"/>
                  </a:lnTo>
                  <a:lnTo>
                    <a:pt x="131" y="232"/>
                  </a:lnTo>
                </a:path>
              </a:pathLst>
            </a:custGeom>
            <a:solidFill>
              <a:srgbClr val="B2C2D1"/>
            </a:solidFill>
            <a:ln w="9525">
              <a:noFill/>
              <a:round/>
              <a:headEnd/>
              <a:tailEnd/>
            </a:ln>
          </p:spPr>
          <p:txBody>
            <a:bodyPr/>
            <a:lstStyle/>
            <a:p>
              <a:endParaRPr lang="el-GR"/>
            </a:p>
          </p:txBody>
        </p:sp>
        <p:sp>
          <p:nvSpPr>
            <p:cNvPr id="184" name="Freeform 61"/>
            <p:cNvSpPr>
              <a:spLocks/>
            </p:cNvSpPr>
            <p:nvPr/>
          </p:nvSpPr>
          <p:spPr bwMode="auto">
            <a:xfrm>
              <a:off x="3301" y="1440"/>
              <a:ext cx="121" cy="96"/>
            </a:xfrm>
            <a:custGeom>
              <a:avLst/>
              <a:gdLst>
                <a:gd name="T0" fmla="*/ 22 w 508"/>
                <a:gd name="T1" fmla="*/ 9 h 406"/>
                <a:gd name="T2" fmla="*/ 23 w 508"/>
                <a:gd name="T3" fmla="*/ 11 h 406"/>
                <a:gd name="T4" fmla="*/ 24 w 508"/>
                <a:gd name="T5" fmla="*/ 10 h 406"/>
                <a:gd name="T6" fmla="*/ 25 w 508"/>
                <a:gd name="T7" fmla="*/ 6 h 406"/>
                <a:gd name="T8" fmla="*/ 29 w 508"/>
                <a:gd name="T9" fmla="*/ 5 h 406"/>
                <a:gd name="T10" fmla="*/ 27 w 508"/>
                <a:gd name="T11" fmla="*/ 2 h 406"/>
                <a:gd name="T12" fmla="*/ 29 w 508"/>
                <a:gd name="T13" fmla="*/ 0 h 406"/>
                <a:gd name="T14" fmla="*/ 27 w 508"/>
                <a:gd name="T15" fmla="*/ 0 h 406"/>
                <a:gd name="T16" fmla="*/ 25 w 508"/>
                <a:gd name="T17" fmla="*/ 2 h 406"/>
                <a:gd name="T18" fmla="*/ 24 w 508"/>
                <a:gd name="T19" fmla="*/ 1 h 406"/>
                <a:gd name="T20" fmla="*/ 20 w 508"/>
                <a:gd name="T21" fmla="*/ 4 h 406"/>
                <a:gd name="T22" fmla="*/ 22 w 508"/>
                <a:gd name="T23" fmla="*/ 5 h 406"/>
                <a:gd name="T24" fmla="*/ 19 w 508"/>
                <a:gd name="T25" fmla="*/ 6 h 406"/>
                <a:gd name="T26" fmla="*/ 19 w 508"/>
                <a:gd name="T27" fmla="*/ 8 h 406"/>
                <a:gd name="T28" fmla="*/ 16 w 508"/>
                <a:gd name="T29" fmla="*/ 8 h 406"/>
                <a:gd name="T30" fmla="*/ 17 w 508"/>
                <a:gd name="T31" fmla="*/ 6 h 406"/>
                <a:gd name="T32" fmla="*/ 16 w 508"/>
                <a:gd name="T33" fmla="*/ 6 h 406"/>
                <a:gd name="T34" fmla="*/ 16 w 508"/>
                <a:gd name="T35" fmla="*/ 4 h 406"/>
                <a:gd name="T36" fmla="*/ 14 w 508"/>
                <a:gd name="T37" fmla="*/ 3 h 406"/>
                <a:gd name="T38" fmla="*/ 15 w 508"/>
                <a:gd name="T39" fmla="*/ 1 h 406"/>
                <a:gd name="T40" fmla="*/ 8 w 508"/>
                <a:gd name="T41" fmla="*/ 2 h 406"/>
                <a:gd name="T42" fmla="*/ 8 w 508"/>
                <a:gd name="T43" fmla="*/ 1 h 406"/>
                <a:gd name="T44" fmla="*/ 5 w 508"/>
                <a:gd name="T45" fmla="*/ 2 h 406"/>
                <a:gd name="T46" fmla="*/ 0 w 508"/>
                <a:gd name="T47" fmla="*/ 2 h 406"/>
                <a:gd name="T48" fmla="*/ 1 w 508"/>
                <a:gd name="T49" fmla="*/ 9 h 406"/>
                <a:gd name="T50" fmla="*/ 3 w 508"/>
                <a:gd name="T51" fmla="*/ 9 h 406"/>
                <a:gd name="T52" fmla="*/ 1 w 508"/>
                <a:gd name="T53" fmla="*/ 12 h 406"/>
                <a:gd name="T54" fmla="*/ 1 w 508"/>
                <a:gd name="T55" fmla="*/ 13 h 406"/>
                <a:gd name="T56" fmla="*/ 3 w 508"/>
                <a:gd name="T57" fmla="*/ 13 h 406"/>
                <a:gd name="T58" fmla="*/ 1 w 508"/>
                <a:gd name="T59" fmla="*/ 15 h 406"/>
                <a:gd name="T60" fmla="*/ 4 w 508"/>
                <a:gd name="T61" fmla="*/ 17 h 406"/>
                <a:gd name="T62" fmla="*/ 4 w 508"/>
                <a:gd name="T63" fmla="*/ 15 h 406"/>
                <a:gd name="T64" fmla="*/ 6 w 508"/>
                <a:gd name="T65" fmla="*/ 15 h 406"/>
                <a:gd name="T66" fmla="*/ 7 w 508"/>
                <a:gd name="T67" fmla="*/ 14 h 406"/>
                <a:gd name="T68" fmla="*/ 9 w 508"/>
                <a:gd name="T69" fmla="*/ 15 h 406"/>
                <a:gd name="T70" fmla="*/ 7 w 508"/>
                <a:gd name="T71" fmla="*/ 19 h 406"/>
                <a:gd name="T72" fmla="*/ 9 w 508"/>
                <a:gd name="T73" fmla="*/ 20 h 406"/>
                <a:gd name="T74" fmla="*/ 10 w 508"/>
                <a:gd name="T75" fmla="*/ 21 h 406"/>
                <a:gd name="T76" fmla="*/ 13 w 508"/>
                <a:gd name="T77" fmla="*/ 21 h 406"/>
                <a:gd name="T78" fmla="*/ 12 w 508"/>
                <a:gd name="T79" fmla="*/ 17 h 406"/>
                <a:gd name="T80" fmla="*/ 10 w 508"/>
                <a:gd name="T81" fmla="*/ 16 h 406"/>
                <a:gd name="T82" fmla="*/ 12 w 508"/>
                <a:gd name="T83" fmla="*/ 12 h 406"/>
                <a:gd name="T84" fmla="*/ 11 w 508"/>
                <a:gd name="T85" fmla="*/ 11 h 406"/>
                <a:gd name="T86" fmla="*/ 14 w 508"/>
                <a:gd name="T87" fmla="*/ 11 h 406"/>
                <a:gd name="T88" fmla="*/ 15 w 508"/>
                <a:gd name="T89" fmla="*/ 13 h 406"/>
                <a:gd name="T90" fmla="*/ 15 w 508"/>
                <a:gd name="T91" fmla="*/ 14 h 406"/>
                <a:gd name="T92" fmla="*/ 14 w 508"/>
                <a:gd name="T93" fmla="*/ 16 h 406"/>
                <a:gd name="T94" fmla="*/ 15 w 508"/>
                <a:gd name="T95" fmla="*/ 17 h 406"/>
                <a:gd name="T96" fmla="*/ 17 w 508"/>
                <a:gd name="T97" fmla="*/ 19 h 406"/>
                <a:gd name="T98" fmla="*/ 21 w 508"/>
                <a:gd name="T99" fmla="*/ 23 h 406"/>
                <a:gd name="T100" fmla="*/ 21 w 508"/>
                <a:gd name="T101" fmla="*/ 19 h 406"/>
                <a:gd name="T102" fmla="*/ 20 w 508"/>
                <a:gd name="T103" fmla="*/ 16 h 406"/>
                <a:gd name="T104" fmla="*/ 20 w 508"/>
                <a:gd name="T105" fmla="*/ 13 h 406"/>
                <a:gd name="T106" fmla="*/ 22 w 508"/>
                <a:gd name="T107" fmla="*/ 13 h 406"/>
                <a:gd name="T108" fmla="*/ 22 w 508"/>
                <a:gd name="T109" fmla="*/ 11 h 406"/>
                <a:gd name="T110" fmla="*/ 22 w 508"/>
                <a:gd name="T111" fmla="*/ 9 h 4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8"/>
                <a:gd name="T169" fmla="*/ 0 h 406"/>
                <a:gd name="T170" fmla="*/ 508 w 508"/>
                <a:gd name="T171" fmla="*/ 406 h 4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8" h="406">
                  <a:moveTo>
                    <a:pt x="386" y="171"/>
                  </a:moveTo>
                  <a:lnTo>
                    <a:pt x="413" y="202"/>
                  </a:lnTo>
                  <a:lnTo>
                    <a:pt x="414" y="173"/>
                  </a:lnTo>
                  <a:lnTo>
                    <a:pt x="445" y="116"/>
                  </a:lnTo>
                  <a:lnTo>
                    <a:pt x="504" y="90"/>
                  </a:lnTo>
                  <a:lnTo>
                    <a:pt x="479" y="30"/>
                  </a:lnTo>
                  <a:lnTo>
                    <a:pt x="508" y="2"/>
                  </a:lnTo>
                  <a:lnTo>
                    <a:pt x="480" y="0"/>
                  </a:lnTo>
                  <a:lnTo>
                    <a:pt x="451" y="28"/>
                  </a:lnTo>
                  <a:lnTo>
                    <a:pt x="423" y="27"/>
                  </a:lnTo>
                  <a:lnTo>
                    <a:pt x="363" y="82"/>
                  </a:lnTo>
                  <a:lnTo>
                    <a:pt x="391" y="83"/>
                  </a:lnTo>
                  <a:lnTo>
                    <a:pt x="333" y="110"/>
                  </a:lnTo>
                  <a:lnTo>
                    <a:pt x="332" y="140"/>
                  </a:lnTo>
                  <a:lnTo>
                    <a:pt x="277" y="136"/>
                  </a:lnTo>
                  <a:lnTo>
                    <a:pt x="305" y="108"/>
                  </a:lnTo>
                  <a:lnTo>
                    <a:pt x="277" y="107"/>
                  </a:lnTo>
                  <a:lnTo>
                    <a:pt x="279" y="78"/>
                  </a:lnTo>
                  <a:lnTo>
                    <a:pt x="252" y="46"/>
                  </a:lnTo>
                  <a:lnTo>
                    <a:pt x="254" y="18"/>
                  </a:lnTo>
                  <a:lnTo>
                    <a:pt x="140" y="41"/>
                  </a:lnTo>
                  <a:lnTo>
                    <a:pt x="141" y="12"/>
                  </a:lnTo>
                  <a:lnTo>
                    <a:pt x="84" y="38"/>
                  </a:lnTo>
                  <a:lnTo>
                    <a:pt x="0" y="33"/>
                  </a:lnTo>
                  <a:lnTo>
                    <a:pt x="22" y="153"/>
                  </a:lnTo>
                  <a:lnTo>
                    <a:pt x="49" y="155"/>
                  </a:lnTo>
                  <a:lnTo>
                    <a:pt x="18" y="211"/>
                  </a:lnTo>
                  <a:lnTo>
                    <a:pt x="17" y="240"/>
                  </a:lnTo>
                  <a:lnTo>
                    <a:pt x="45" y="242"/>
                  </a:lnTo>
                  <a:lnTo>
                    <a:pt x="16" y="269"/>
                  </a:lnTo>
                  <a:lnTo>
                    <a:pt x="71" y="302"/>
                  </a:lnTo>
                  <a:lnTo>
                    <a:pt x="71" y="273"/>
                  </a:lnTo>
                  <a:lnTo>
                    <a:pt x="99" y="274"/>
                  </a:lnTo>
                  <a:lnTo>
                    <a:pt x="129" y="246"/>
                  </a:lnTo>
                  <a:lnTo>
                    <a:pt x="155" y="277"/>
                  </a:lnTo>
                  <a:lnTo>
                    <a:pt x="125" y="334"/>
                  </a:lnTo>
                  <a:lnTo>
                    <a:pt x="152" y="365"/>
                  </a:lnTo>
                  <a:lnTo>
                    <a:pt x="179" y="366"/>
                  </a:lnTo>
                  <a:lnTo>
                    <a:pt x="234" y="369"/>
                  </a:lnTo>
                  <a:lnTo>
                    <a:pt x="211" y="310"/>
                  </a:lnTo>
                  <a:lnTo>
                    <a:pt x="183" y="279"/>
                  </a:lnTo>
                  <a:lnTo>
                    <a:pt x="215" y="221"/>
                  </a:lnTo>
                  <a:lnTo>
                    <a:pt x="189" y="190"/>
                  </a:lnTo>
                  <a:lnTo>
                    <a:pt x="245" y="193"/>
                  </a:lnTo>
                  <a:lnTo>
                    <a:pt x="271" y="224"/>
                  </a:lnTo>
                  <a:lnTo>
                    <a:pt x="270" y="254"/>
                  </a:lnTo>
                  <a:lnTo>
                    <a:pt x="240" y="281"/>
                  </a:lnTo>
                  <a:lnTo>
                    <a:pt x="267" y="313"/>
                  </a:lnTo>
                  <a:lnTo>
                    <a:pt x="293" y="342"/>
                  </a:lnTo>
                  <a:lnTo>
                    <a:pt x="374" y="406"/>
                  </a:lnTo>
                  <a:lnTo>
                    <a:pt x="377" y="347"/>
                  </a:lnTo>
                  <a:lnTo>
                    <a:pt x="352" y="288"/>
                  </a:lnTo>
                  <a:lnTo>
                    <a:pt x="356" y="229"/>
                  </a:lnTo>
                  <a:lnTo>
                    <a:pt x="384" y="229"/>
                  </a:lnTo>
                  <a:lnTo>
                    <a:pt x="385" y="201"/>
                  </a:lnTo>
                  <a:lnTo>
                    <a:pt x="386" y="171"/>
                  </a:lnTo>
                  <a:close/>
                </a:path>
              </a:pathLst>
            </a:custGeom>
            <a:solidFill>
              <a:srgbClr val="B2C2D1"/>
            </a:solidFill>
            <a:ln w="9525">
              <a:noFill/>
              <a:round/>
              <a:headEnd/>
              <a:tailEnd/>
            </a:ln>
          </p:spPr>
          <p:txBody>
            <a:bodyPr/>
            <a:lstStyle/>
            <a:p>
              <a:endParaRPr lang="el-GR"/>
            </a:p>
          </p:txBody>
        </p:sp>
        <p:sp>
          <p:nvSpPr>
            <p:cNvPr id="185" name="Freeform 62"/>
            <p:cNvSpPr>
              <a:spLocks/>
            </p:cNvSpPr>
            <p:nvPr/>
          </p:nvSpPr>
          <p:spPr bwMode="auto">
            <a:xfrm>
              <a:off x="3301" y="1440"/>
              <a:ext cx="121" cy="96"/>
            </a:xfrm>
            <a:custGeom>
              <a:avLst/>
              <a:gdLst>
                <a:gd name="T0" fmla="*/ 22 w 508"/>
                <a:gd name="T1" fmla="*/ 9 h 406"/>
                <a:gd name="T2" fmla="*/ 23 w 508"/>
                <a:gd name="T3" fmla="*/ 11 h 406"/>
                <a:gd name="T4" fmla="*/ 24 w 508"/>
                <a:gd name="T5" fmla="*/ 10 h 406"/>
                <a:gd name="T6" fmla="*/ 25 w 508"/>
                <a:gd name="T7" fmla="*/ 6 h 406"/>
                <a:gd name="T8" fmla="*/ 29 w 508"/>
                <a:gd name="T9" fmla="*/ 5 h 406"/>
                <a:gd name="T10" fmla="*/ 27 w 508"/>
                <a:gd name="T11" fmla="*/ 2 h 406"/>
                <a:gd name="T12" fmla="*/ 29 w 508"/>
                <a:gd name="T13" fmla="*/ 0 h 406"/>
                <a:gd name="T14" fmla="*/ 27 w 508"/>
                <a:gd name="T15" fmla="*/ 0 h 406"/>
                <a:gd name="T16" fmla="*/ 25 w 508"/>
                <a:gd name="T17" fmla="*/ 2 h 406"/>
                <a:gd name="T18" fmla="*/ 24 w 508"/>
                <a:gd name="T19" fmla="*/ 1 h 406"/>
                <a:gd name="T20" fmla="*/ 20 w 508"/>
                <a:gd name="T21" fmla="*/ 4 h 406"/>
                <a:gd name="T22" fmla="*/ 22 w 508"/>
                <a:gd name="T23" fmla="*/ 5 h 406"/>
                <a:gd name="T24" fmla="*/ 19 w 508"/>
                <a:gd name="T25" fmla="*/ 6 h 406"/>
                <a:gd name="T26" fmla="*/ 19 w 508"/>
                <a:gd name="T27" fmla="*/ 8 h 406"/>
                <a:gd name="T28" fmla="*/ 16 w 508"/>
                <a:gd name="T29" fmla="*/ 8 h 406"/>
                <a:gd name="T30" fmla="*/ 17 w 508"/>
                <a:gd name="T31" fmla="*/ 6 h 406"/>
                <a:gd name="T32" fmla="*/ 16 w 508"/>
                <a:gd name="T33" fmla="*/ 6 h 406"/>
                <a:gd name="T34" fmla="*/ 16 w 508"/>
                <a:gd name="T35" fmla="*/ 4 h 406"/>
                <a:gd name="T36" fmla="*/ 14 w 508"/>
                <a:gd name="T37" fmla="*/ 3 h 406"/>
                <a:gd name="T38" fmla="*/ 15 w 508"/>
                <a:gd name="T39" fmla="*/ 1 h 406"/>
                <a:gd name="T40" fmla="*/ 8 w 508"/>
                <a:gd name="T41" fmla="*/ 2 h 406"/>
                <a:gd name="T42" fmla="*/ 8 w 508"/>
                <a:gd name="T43" fmla="*/ 1 h 406"/>
                <a:gd name="T44" fmla="*/ 5 w 508"/>
                <a:gd name="T45" fmla="*/ 2 h 406"/>
                <a:gd name="T46" fmla="*/ 0 w 508"/>
                <a:gd name="T47" fmla="*/ 2 h 406"/>
                <a:gd name="T48" fmla="*/ 1 w 508"/>
                <a:gd name="T49" fmla="*/ 9 h 406"/>
                <a:gd name="T50" fmla="*/ 3 w 508"/>
                <a:gd name="T51" fmla="*/ 9 h 406"/>
                <a:gd name="T52" fmla="*/ 1 w 508"/>
                <a:gd name="T53" fmla="*/ 12 h 406"/>
                <a:gd name="T54" fmla="*/ 1 w 508"/>
                <a:gd name="T55" fmla="*/ 13 h 406"/>
                <a:gd name="T56" fmla="*/ 3 w 508"/>
                <a:gd name="T57" fmla="*/ 13 h 406"/>
                <a:gd name="T58" fmla="*/ 1 w 508"/>
                <a:gd name="T59" fmla="*/ 15 h 406"/>
                <a:gd name="T60" fmla="*/ 4 w 508"/>
                <a:gd name="T61" fmla="*/ 17 h 406"/>
                <a:gd name="T62" fmla="*/ 4 w 508"/>
                <a:gd name="T63" fmla="*/ 15 h 406"/>
                <a:gd name="T64" fmla="*/ 6 w 508"/>
                <a:gd name="T65" fmla="*/ 15 h 406"/>
                <a:gd name="T66" fmla="*/ 7 w 508"/>
                <a:gd name="T67" fmla="*/ 14 h 406"/>
                <a:gd name="T68" fmla="*/ 9 w 508"/>
                <a:gd name="T69" fmla="*/ 15 h 406"/>
                <a:gd name="T70" fmla="*/ 7 w 508"/>
                <a:gd name="T71" fmla="*/ 19 h 406"/>
                <a:gd name="T72" fmla="*/ 9 w 508"/>
                <a:gd name="T73" fmla="*/ 20 h 406"/>
                <a:gd name="T74" fmla="*/ 10 w 508"/>
                <a:gd name="T75" fmla="*/ 21 h 406"/>
                <a:gd name="T76" fmla="*/ 13 w 508"/>
                <a:gd name="T77" fmla="*/ 21 h 406"/>
                <a:gd name="T78" fmla="*/ 12 w 508"/>
                <a:gd name="T79" fmla="*/ 17 h 406"/>
                <a:gd name="T80" fmla="*/ 10 w 508"/>
                <a:gd name="T81" fmla="*/ 16 h 406"/>
                <a:gd name="T82" fmla="*/ 12 w 508"/>
                <a:gd name="T83" fmla="*/ 12 h 406"/>
                <a:gd name="T84" fmla="*/ 11 w 508"/>
                <a:gd name="T85" fmla="*/ 11 h 406"/>
                <a:gd name="T86" fmla="*/ 14 w 508"/>
                <a:gd name="T87" fmla="*/ 11 h 406"/>
                <a:gd name="T88" fmla="*/ 15 w 508"/>
                <a:gd name="T89" fmla="*/ 13 h 406"/>
                <a:gd name="T90" fmla="*/ 15 w 508"/>
                <a:gd name="T91" fmla="*/ 14 h 406"/>
                <a:gd name="T92" fmla="*/ 14 w 508"/>
                <a:gd name="T93" fmla="*/ 16 h 406"/>
                <a:gd name="T94" fmla="*/ 15 w 508"/>
                <a:gd name="T95" fmla="*/ 17 h 406"/>
                <a:gd name="T96" fmla="*/ 17 w 508"/>
                <a:gd name="T97" fmla="*/ 19 h 406"/>
                <a:gd name="T98" fmla="*/ 21 w 508"/>
                <a:gd name="T99" fmla="*/ 23 h 406"/>
                <a:gd name="T100" fmla="*/ 21 w 508"/>
                <a:gd name="T101" fmla="*/ 19 h 406"/>
                <a:gd name="T102" fmla="*/ 20 w 508"/>
                <a:gd name="T103" fmla="*/ 16 h 406"/>
                <a:gd name="T104" fmla="*/ 20 w 508"/>
                <a:gd name="T105" fmla="*/ 13 h 406"/>
                <a:gd name="T106" fmla="*/ 22 w 508"/>
                <a:gd name="T107" fmla="*/ 13 h 406"/>
                <a:gd name="T108" fmla="*/ 22 w 508"/>
                <a:gd name="T109" fmla="*/ 11 h 406"/>
                <a:gd name="T110" fmla="*/ 22 w 508"/>
                <a:gd name="T111" fmla="*/ 9 h 40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8"/>
                <a:gd name="T169" fmla="*/ 0 h 406"/>
                <a:gd name="T170" fmla="*/ 508 w 508"/>
                <a:gd name="T171" fmla="*/ 406 h 40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8" h="406">
                  <a:moveTo>
                    <a:pt x="386" y="171"/>
                  </a:moveTo>
                  <a:lnTo>
                    <a:pt x="413" y="202"/>
                  </a:lnTo>
                  <a:lnTo>
                    <a:pt x="414" y="173"/>
                  </a:lnTo>
                  <a:lnTo>
                    <a:pt x="445" y="116"/>
                  </a:lnTo>
                  <a:lnTo>
                    <a:pt x="504" y="90"/>
                  </a:lnTo>
                  <a:lnTo>
                    <a:pt x="479" y="30"/>
                  </a:lnTo>
                  <a:lnTo>
                    <a:pt x="508" y="2"/>
                  </a:lnTo>
                  <a:lnTo>
                    <a:pt x="480" y="0"/>
                  </a:lnTo>
                  <a:lnTo>
                    <a:pt x="451" y="28"/>
                  </a:lnTo>
                  <a:lnTo>
                    <a:pt x="423" y="27"/>
                  </a:lnTo>
                  <a:lnTo>
                    <a:pt x="363" y="82"/>
                  </a:lnTo>
                  <a:lnTo>
                    <a:pt x="391" y="83"/>
                  </a:lnTo>
                  <a:lnTo>
                    <a:pt x="333" y="110"/>
                  </a:lnTo>
                  <a:lnTo>
                    <a:pt x="332" y="140"/>
                  </a:lnTo>
                  <a:lnTo>
                    <a:pt x="277" y="136"/>
                  </a:lnTo>
                  <a:lnTo>
                    <a:pt x="305" y="108"/>
                  </a:lnTo>
                  <a:lnTo>
                    <a:pt x="277" y="107"/>
                  </a:lnTo>
                  <a:lnTo>
                    <a:pt x="279" y="78"/>
                  </a:lnTo>
                  <a:lnTo>
                    <a:pt x="252" y="46"/>
                  </a:lnTo>
                  <a:lnTo>
                    <a:pt x="254" y="18"/>
                  </a:lnTo>
                  <a:lnTo>
                    <a:pt x="140" y="41"/>
                  </a:lnTo>
                  <a:lnTo>
                    <a:pt x="141" y="12"/>
                  </a:lnTo>
                  <a:lnTo>
                    <a:pt x="84" y="38"/>
                  </a:lnTo>
                  <a:lnTo>
                    <a:pt x="0" y="33"/>
                  </a:lnTo>
                  <a:lnTo>
                    <a:pt x="22" y="153"/>
                  </a:lnTo>
                  <a:lnTo>
                    <a:pt x="49" y="155"/>
                  </a:lnTo>
                  <a:lnTo>
                    <a:pt x="18" y="211"/>
                  </a:lnTo>
                  <a:lnTo>
                    <a:pt x="17" y="240"/>
                  </a:lnTo>
                  <a:lnTo>
                    <a:pt x="45" y="242"/>
                  </a:lnTo>
                  <a:lnTo>
                    <a:pt x="16" y="269"/>
                  </a:lnTo>
                  <a:lnTo>
                    <a:pt x="71" y="302"/>
                  </a:lnTo>
                  <a:lnTo>
                    <a:pt x="71" y="273"/>
                  </a:lnTo>
                  <a:lnTo>
                    <a:pt x="99" y="274"/>
                  </a:lnTo>
                  <a:lnTo>
                    <a:pt x="129" y="246"/>
                  </a:lnTo>
                  <a:lnTo>
                    <a:pt x="155" y="277"/>
                  </a:lnTo>
                  <a:lnTo>
                    <a:pt x="125" y="334"/>
                  </a:lnTo>
                  <a:lnTo>
                    <a:pt x="152" y="365"/>
                  </a:lnTo>
                  <a:lnTo>
                    <a:pt x="179" y="366"/>
                  </a:lnTo>
                  <a:lnTo>
                    <a:pt x="234" y="369"/>
                  </a:lnTo>
                  <a:lnTo>
                    <a:pt x="211" y="310"/>
                  </a:lnTo>
                  <a:lnTo>
                    <a:pt x="183" y="279"/>
                  </a:lnTo>
                  <a:lnTo>
                    <a:pt x="215" y="221"/>
                  </a:lnTo>
                  <a:lnTo>
                    <a:pt x="189" y="190"/>
                  </a:lnTo>
                  <a:lnTo>
                    <a:pt x="245" y="193"/>
                  </a:lnTo>
                  <a:lnTo>
                    <a:pt x="271" y="224"/>
                  </a:lnTo>
                  <a:lnTo>
                    <a:pt x="270" y="254"/>
                  </a:lnTo>
                  <a:lnTo>
                    <a:pt x="240" y="281"/>
                  </a:lnTo>
                  <a:lnTo>
                    <a:pt x="267" y="313"/>
                  </a:lnTo>
                  <a:lnTo>
                    <a:pt x="293" y="342"/>
                  </a:lnTo>
                  <a:lnTo>
                    <a:pt x="374" y="406"/>
                  </a:lnTo>
                  <a:lnTo>
                    <a:pt x="377" y="347"/>
                  </a:lnTo>
                  <a:lnTo>
                    <a:pt x="352" y="288"/>
                  </a:lnTo>
                  <a:lnTo>
                    <a:pt x="356" y="229"/>
                  </a:lnTo>
                  <a:lnTo>
                    <a:pt x="384" y="229"/>
                  </a:lnTo>
                  <a:lnTo>
                    <a:pt x="385" y="201"/>
                  </a:lnTo>
                  <a:lnTo>
                    <a:pt x="386" y="171"/>
                  </a:lnTo>
                </a:path>
              </a:pathLst>
            </a:custGeom>
            <a:solidFill>
              <a:srgbClr val="B2C2D1"/>
            </a:solidFill>
            <a:ln w="9525">
              <a:noFill/>
              <a:round/>
              <a:headEnd/>
              <a:tailEnd/>
            </a:ln>
          </p:spPr>
          <p:txBody>
            <a:bodyPr/>
            <a:lstStyle/>
            <a:p>
              <a:endParaRPr lang="el-GR"/>
            </a:p>
          </p:txBody>
        </p:sp>
        <p:sp>
          <p:nvSpPr>
            <p:cNvPr id="186" name="Freeform 63"/>
            <p:cNvSpPr>
              <a:spLocks/>
            </p:cNvSpPr>
            <p:nvPr/>
          </p:nvSpPr>
          <p:spPr bwMode="auto">
            <a:xfrm>
              <a:off x="3702" y="2301"/>
              <a:ext cx="149" cy="65"/>
            </a:xfrm>
            <a:custGeom>
              <a:avLst/>
              <a:gdLst>
                <a:gd name="T0" fmla="*/ 1 w 624"/>
                <a:gd name="T1" fmla="*/ 11 h 273"/>
                <a:gd name="T2" fmla="*/ 5 w 624"/>
                <a:gd name="T3" fmla="*/ 11 h 273"/>
                <a:gd name="T4" fmla="*/ 6 w 624"/>
                <a:gd name="T5" fmla="*/ 10 h 273"/>
                <a:gd name="T6" fmla="*/ 10 w 624"/>
                <a:gd name="T7" fmla="*/ 10 h 273"/>
                <a:gd name="T8" fmla="*/ 13 w 624"/>
                <a:gd name="T9" fmla="*/ 10 h 273"/>
                <a:gd name="T10" fmla="*/ 14 w 624"/>
                <a:gd name="T11" fmla="*/ 12 h 273"/>
                <a:gd name="T12" fmla="*/ 16 w 624"/>
                <a:gd name="T13" fmla="*/ 15 h 273"/>
                <a:gd name="T14" fmla="*/ 17 w 624"/>
                <a:gd name="T15" fmla="*/ 15 h 273"/>
                <a:gd name="T16" fmla="*/ 22 w 624"/>
                <a:gd name="T17" fmla="*/ 15 h 273"/>
                <a:gd name="T18" fmla="*/ 22 w 624"/>
                <a:gd name="T19" fmla="*/ 14 h 273"/>
                <a:gd name="T20" fmla="*/ 26 w 624"/>
                <a:gd name="T21" fmla="*/ 12 h 273"/>
                <a:gd name="T22" fmla="*/ 29 w 624"/>
                <a:gd name="T23" fmla="*/ 11 h 273"/>
                <a:gd name="T24" fmla="*/ 32 w 624"/>
                <a:gd name="T25" fmla="*/ 11 h 273"/>
                <a:gd name="T26" fmla="*/ 35 w 624"/>
                <a:gd name="T27" fmla="*/ 10 h 273"/>
                <a:gd name="T28" fmla="*/ 35 w 624"/>
                <a:gd name="T29" fmla="*/ 8 h 273"/>
                <a:gd name="T30" fmla="*/ 34 w 624"/>
                <a:gd name="T31" fmla="*/ 8 h 273"/>
                <a:gd name="T32" fmla="*/ 32 w 624"/>
                <a:gd name="T33" fmla="*/ 6 h 273"/>
                <a:gd name="T34" fmla="*/ 36 w 624"/>
                <a:gd name="T35" fmla="*/ 5 h 273"/>
                <a:gd name="T36" fmla="*/ 36 w 624"/>
                <a:gd name="T37" fmla="*/ 3 h 273"/>
                <a:gd name="T38" fmla="*/ 32 w 624"/>
                <a:gd name="T39" fmla="*/ 4 h 273"/>
                <a:gd name="T40" fmla="*/ 31 w 624"/>
                <a:gd name="T41" fmla="*/ 3 h 273"/>
                <a:gd name="T42" fmla="*/ 29 w 624"/>
                <a:gd name="T43" fmla="*/ 2 h 273"/>
                <a:gd name="T44" fmla="*/ 27 w 624"/>
                <a:gd name="T45" fmla="*/ 2 h 273"/>
                <a:gd name="T46" fmla="*/ 29 w 624"/>
                <a:gd name="T47" fmla="*/ 6 h 273"/>
                <a:gd name="T48" fmla="*/ 27 w 624"/>
                <a:gd name="T49" fmla="*/ 4 h 273"/>
                <a:gd name="T50" fmla="*/ 23 w 624"/>
                <a:gd name="T51" fmla="*/ 2 h 273"/>
                <a:gd name="T52" fmla="*/ 21 w 624"/>
                <a:gd name="T53" fmla="*/ 0 h 273"/>
                <a:gd name="T54" fmla="*/ 20 w 624"/>
                <a:gd name="T55" fmla="*/ 0 h 273"/>
                <a:gd name="T56" fmla="*/ 16 w 624"/>
                <a:gd name="T57" fmla="*/ 0 h 273"/>
                <a:gd name="T58" fmla="*/ 12 w 624"/>
                <a:gd name="T59" fmla="*/ 0 h 273"/>
                <a:gd name="T60" fmla="*/ 10 w 624"/>
                <a:gd name="T61" fmla="*/ 1 h 273"/>
                <a:gd name="T62" fmla="*/ 8 w 624"/>
                <a:gd name="T63" fmla="*/ 1 h 273"/>
                <a:gd name="T64" fmla="*/ 5 w 624"/>
                <a:gd name="T65" fmla="*/ 3 h 273"/>
                <a:gd name="T66" fmla="*/ 3 w 624"/>
                <a:gd name="T67" fmla="*/ 5 h 273"/>
                <a:gd name="T68" fmla="*/ 0 w 624"/>
                <a:gd name="T69" fmla="*/ 6 h 273"/>
                <a:gd name="T70" fmla="*/ 1 w 624"/>
                <a:gd name="T71" fmla="*/ 10 h 273"/>
                <a:gd name="T72" fmla="*/ 1 w 624"/>
                <a:gd name="T73" fmla="*/ 11 h 2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4"/>
                <a:gd name="T112" fmla="*/ 0 h 273"/>
                <a:gd name="T113" fmla="*/ 624 w 624"/>
                <a:gd name="T114" fmla="*/ 273 h 2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4" h="273">
                  <a:moveTo>
                    <a:pt x="25" y="197"/>
                  </a:moveTo>
                  <a:lnTo>
                    <a:pt x="82" y="199"/>
                  </a:lnTo>
                  <a:lnTo>
                    <a:pt x="110" y="172"/>
                  </a:lnTo>
                  <a:lnTo>
                    <a:pt x="166" y="174"/>
                  </a:lnTo>
                  <a:lnTo>
                    <a:pt x="222" y="177"/>
                  </a:lnTo>
                  <a:lnTo>
                    <a:pt x="249" y="208"/>
                  </a:lnTo>
                  <a:lnTo>
                    <a:pt x="273" y="268"/>
                  </a:lnTo>
                  <a:lnTo>
                    <a:pt x="301" y="270"/>
                  </a:lnTo>
                  <a:lnTo>
                    <a:pt x="386" y="273"/>
                  </a:lnTo>
                  <a:lnTo>
                    <a:pt x="388" y="245"/>
                  </a:lnTo>
                  <a:lnTo>
                    <a:pt x="447" y="218"/>
                  </a:lnTo>
                  <a:lnTo>
                    <a:pt x="504" y="191"/>
                  </a:lnTo>
                  <a:lnTo>
                    <a:pt x="560" y="194"/>
                  </a:lnTo>
                  <a:lnTo>
                    <a:pt x="618" y="168"/>
                  </a:lnTo>
                  <a:lnTo>
                    <a:pt x="619" y="138"/>
                  </a:lnTo>
                  <a:lnTo>
                    <a:pt x="591" y="137"/>
                  </a:lnTo>
                  <a:lnTo>
                    <a:pt x="565" y="106"/>
                  </a:lnTo>
                  <a:lnTo>
                    <a:pt x="622" y="80"/>
                  </a:lnTo>
                  <a:lnTo>
                    <a:pt x="624" y="50"/>
                  </a:lnTo>
                  <a:lnTo>
                    <a:pt x="566" y="76"/>
                  </a:lnTo>
                  <a:lnTo>
                    <a:pt x="540" y="46"/>
                  </a:lnTo>
                  <a:lnTo>
                    <a:pt x="511" y="44"/>
                  </a:lnTo>
                  <a:lnTo>
                    <a:pt x="483" y="43"/>
                  </a:lnTo>
                  <a:lnTo>
                    <a:pt x="508" y="103"/>
                  </a:lnTo>
                  <a:lnTo>
                    <a:pt x="481" y="72"/>
                  </a:lnTo>
                  <a:lnTo>
                    <a:pt x="399" y="37"/>
                  </a:lnTo>
                  <a:lnTo>
                    <a:pt x="372" y="7"/>
                  </a:lnTo>
                  <a:lnTo>
                    <a:pt x="344" y="6"/>
                  </a:lnTo>
                  <a:lnTo>
                    <a:pt x="287" y="3"/>
                  </a:lnTo>
                  <a:lnTo>
                    <a:pt x="205" y="0"/>
                  </a:lnTo>
                  <a:lnTo>
                    <a:pt x="175" y="27"/>
                  </a:lnTo>
                  <a:lnTo>
                    <a:pt x="147" y="26"/>
                  </a:lnTo>
                  <a:lnTo>
                    <a:pt x="88" y="51"/>
                  </a:lnTo>
                  <a:lnTo>
                    <a:pt x="59" y="80"/>
                  </a:lnTo>
                  <a:lnTo>
                    <a:pt x="0" y="107"/>
                  </a:lnTo>
                  <a:lnTo>
                    <a:pt x="26" y="166"/>
                  </a:lnTo>
                  <a:lnTo>
                    <a:pt x="25" y="197"/>
                  </a:lnTo>
                  <a:close/>
                </a:path>
              </a:pathLst>
            </a:custGeom>
            <a:solidFill>
              <a:srgbClr val="B2C2D1"/>
            </a:solidFill>
            <a:ln w="9525">
              <a:noFill/>
              <a:round/>
              <a:headEnd/>
              <a:tailEnd/>
            </a:ln>
          </p:spPr>
          <p:txBody>
            <a:bodyPr/>
            <a:lstStyle/>
            <a:p>
              <a:endParaRPr lang="el-GR"/>
            </a:p>
          </p:txBody>
        </p:sp>
        <p:sp>
          <p:nvSpPr>
            <p:cNvPr id="187" name="Freeform 64"/>
            <p:cNvSpPr>
              <a:spLocks/>
            </p:cNvSpPr>
            <p:nvPr/>
          </p:nvSpPr>
          <p:spPr bwMode="auto">
            <a:xfrm>
              <a:off x="3702" y="2301"/>
              <a:ext cx="149" cy="65"/>
            </a:xfrm>
            <a:custGeom>
              <a:avLst/>
              <a:gdLst>
                <a:gd name="T0" fmla="*/ 1 w 624"/>
                <a:gd name="T1" fmla="*/ 11 h 273"/>
                <a:gd name="T2" fmla="*/ 5 w 624"/>
                <a:gd name="T3" fmla="*/ 11 h 273"/>
                <a:gd name="T4" fmla="*/ 6 w 624"/>
                <a:gd name="T5" fmla="*/ 10 h 273"/>
                <a:gd name="T6" fmla="*/ 10 w 624"/>
                <a:gd name="T7" fmla="*/ 10 h 273"/>
                <a:gd name="T8" fmla="*/ 13 w 624"/>
                <a:gd name="T9" fmla="*/ 10 h 273"/>
                <a:gd name="T10" fmla="*/ 14 w 624"/>
                <a:gd name="T11" fmla="*/ 12 h 273"/>
                <a:gd name="T12" fmla="*/ 16 w 624"/>
                <a:gd name="T13" fmla="*/ 15 h 273"/>
                <a:gd name="T14" fmla="*/ 17 w 624"/>
                <a:gd name="T15" fmla="*/ 15 h 273"/>
                <a:gd name="T16" fmla="*/ 22 w 624"/>
                <a:gd name="T17" fmla="*/ 15 h 273"/>
                <a:gd name="T18" fmla="*/ 22 w 624"/>
                <a:gd name="T19" fmla="*/ 14 h 273"/>
                <a:gd name="T20" fmla="*/ 26 w 624"/>
                <a:gd name="T21" fmla="*/ 12 h 273"/>
                <a:gd name="T22" fmla="*/ 29 w 624"/>
                <a:gd name="T23" fmla="*/ 11 h 273"/>
                <a:gd name="T24" fmla="*/ 32 w 624"/>
                <a:gd name="T25" fmla="*/ 11 h 273"/>
                <a:gd name="T26" fmla="*/ 35 w 624"/>
                <a:gd name="T27" fmla="*/ 10 h 273"/>
                <a:gd name="T28" fmla="*/ 35 w 624"/>
                <a:gd name="T29" fmla="*/ 8 h 273"/>
                <a:gd name="T30" fmla="*/ 34 w 624"/>
                <a:gd name="T31" fmla="*/ 8 h 273"/>
                <a:gd name="T32" fmla="*/ 32 w 624"/>
                <a:gd name="T33" fmla="*/ 6 h 273"/>
                <a:gd name="T34" fmla="*/ 36 w 624"/>
                <a:gd name="T35" fmla="*/ 5 h 273"/>
                <a:gd name="T36" fmla="*/ 36 w 624"/>
                <a:gd name="T37" fmla="*/ 3 h 273"/>
                <a:gd name="T38" fmla="*/ 32 w 624"/>
                <a:gd name="T39" fmla="*/ 4 h 273"/>
                <a:gd name="T40" fmla="*/ 31 w 624"/>
                <a:gd name="T41" fmla="*/ 3 h 273"/>
                <a:gd name="T42" fmla="*/ 29 w 624"/>
                <a:gd name="T43" fmla="*/ 2 h 273"/>
                <a:gd name="T44" fmla="*/ 27 w 624"/>
                <a:gd name="T45" fmla="*/ 2 h 273"/>
                <a:gd name="T46" fmla="*/ 29 w 624"/>
                <a:gd name="T47" fmla="*/ 6 h 273"/>
                <a:gd name="T48" fmla="*/ 27 w 624"/>
                <a:gd name="T49" fmla="*/ 4 h 273"/>
                <a:gd name="T50" fmla="*/ 23 w 624"/>
                <a:gd name="T51" fmla="*/ 2 h 273"/>
                <a:gd name="T52" fmla="*/ 21 w 624"/>
                <a:gd name="T53" fmla="*/ 0 h 273"/>
                <a:gd name="T54" fmla="*/ 20 w 624"/>
                <a:gd name="T55" fmla="*/ 0 h 273"/>
                <a:gd name="T56" fmla="*/ 16 w 624"/>
                <a:gd name="T57" fmla="*/ 0 h 273"/>
                <a:gd name="T58" fmla="*/ 12 w 624"/>
                <a:gd name="T59" fmla="*/ 0 h 273"/>
                <a:gd name="T60" fmla="*/ 10 w 624"/>
                <a:gd name="T61" fmla="*/ 1 h 273"/>
                <a:gd name="T62" fmla="*/ 8 w 624"/>
                <a:gd name="T63" fmla="*/ 1 h 273"/>
                <a:gd name="T64" fmla="*/ 5 w 624"/>
                <a:gd name="T65" fmla="*/ 3 h 273"/>
                <a:gd name="T66" fmla="*/ 3 w 624"/>
                <a:gd name="T67" fmla="*/ 5 h 273"/>
                <a:gd name="T68" fmla="*/ 0 w 624"/>
                <a:gd name="T69" fmla="*/ 6 h 273"/>
                <a:gd name="T70" fmla="*/ 1 w 624"/>
                <a:gd name="T71" fmla="*/ 10 h 273"/>
                <a:gd name="T72" fmla="*/ 1 w 624"/>
                <a:gd name="T73" fmla="*/ 11 h 27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24"/>
                <a:gd name="T112" fmla="*/ 0 h 273"/>
                <a:gd name="T113" fmla="*/ 624 w 624"/>
                <a:gd name="T114" fmla="*/ 273 h 27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24" h="273">
                  <a:moveTo>
                    <a:pt x="25" y="197"/>
                  </a:moveTo>
                  <a:lnTo>
                    <a:pt x="82" y="199"/>
                  </a:lnTo>
                  <a:lnTo>
                    <a:pt x="110" y="172"/>
                  </a:lnTo>
                  <a:lnTo>
                    <a:pt x="166" y="174"/>
                  </a:lnTo>
                  <a:lnTo>
                    <a:pt x="222" y="177"/>
                  </a:lnTo>
                  <a:lnTo>
                    <a:pt x="249" y="208"/>
                  </a:lnTo>
                  <a:lnTo>
                    <a:pt x="273" y="268"/>
                  </a:lnTo>
                  <a:lnTo>
                    <a:pt x="301" y="270"/>
                  </a:lnTo>
                  <a:lnTo>
                    <a:pt x="386" y="273"/>
                  </a:lnTo>
                  <a:lnTo>
                    <a:pt x="388" y="245"/>
                  </a:lnTo>
                  <a:lnTo>
                    <a:pt x="447" y="218"/>
                  </a:lnTo>
                  <a:lnTo>
                    <a:pt x="504" y="191"/>
                  </a:lnTo>
                  <a:lnTo>
                    <a:pt x="560" y="194"/>
                  </a:lnTo>
                  <a:lnTo>
                    <a:pt x="618" y="168"/>
                  </a:lnTo>
                  <a:lnTo>
                    <a:pt x="619" y="138"/>
                  </a:lnTo>
                  <a:lnTo>
                    <a:pt x="591" y="137"/>
                  </a:lnTo>
                  <a:lnTo>
                    <a:pt x="565" y="106"/>
                  </a:lnTo>
                  <a:lnTo>
                    <a:pt x="622" y="80"/>
                  </a:lnTo>
                  <a:lnTo>
                    <a:pt x="624" y="50"/>
                  </a:lnTo>
                  <a:lnTo>
                    <a:pt x="566" y="76"/>
                  </a:lnTo>
                  <a:lnTo>
                    <a:pt x="540" y="46"/>
                  </a:lnTo>
                  <a:lnTo>
                    <a:pt x="511" y="44"/>
                  </a:lnTo>
                  <a:lnTo>
                    <a:pt x="483" y="43"/>
                  </a:lnTo>
                  <a:lnTo>
                    <a:pt x="508" y="103"/>
                  </a:lnTo>
                  <a:lnTo>
                    <a:pt x="481" y="72"/>
                  </a:lnTo>
                  <a:lnTo>
                    <a:pt x="399" y="37"/>
                  </a:lnTo>
                  <a:lnTo>
                    <a:pt x="372" y="7"/>
                  </a:lnTo>
                  <a:lnTo>
                    <a:pt x="344" y="6"/>
                  </a:lnTo>
                  <a:lnTo>
                    <a:pt x="287" y="3"/>
                  </a:lnTo>
                  <a:lnTo>
                    <a:pt x="205" y="0"/>
                  </a:lnTo>
                  <a:lnTo>
                    <a:pt x="175" y="27"/>
                  </a:lnTo>
                  <a:lnTo>
                    <a:pt x="147" y="26"/>
                  </a:lnTo>
                  <a:lnTo>
                    <a:pt x="88" y="51"/>
                  </a:lnTo>
                  <a:lnTo>
                    <a:pt x="59" y="80"/>
                  </a:lnTo>
                  <a:lnTo>
                    <a:pt x="0" y="107"/>
                  </a:lnTo>
                  <a:lnTo>
                    <a:pt x="26" y="166"/>
                  </a:lnTo>
                  <a:lnTo>
                    <a:pt x="25" y="197"/>
                  </a:lnTo>
                </a:path>
              </a:pathLst>
            </a:custGeom>
            <a:solidFill>
              <a:srgbClr val="B2C2D1"/>
            </a:solidFill>
            <a:ln w="9525">
              <a:noFill/>
              <a:round/>
              <a:headEnd/>
              <a:tailEnd/>
            </a:ln>
          </p:spPr>
          <p:txBody>
            <a:bodyPr/>
            <a:lstStyle/>
            <a:p>
              <a:endParaRPr lang="el-GR"/>
            </a:p>
          </p:txBody>
        </p:sp>
        <p:sp>
          <p:nvSpPr>
            <p:cNvPr id="188" name="Freeform 65"/>
            <p:cNvSpPr>
              <a:spLocks/>
            </p:cNvSpPr>
            <p:nvPr/>
          </p:nvSpPr>
          <p:spPr bwMode="auto">
            <a:xfrm>
              <a:off x="3518" y="2338"/>
              <a:ext cx="117" cy="71"/>
            </a:xfrm>
            <a:custGeom>
              <a:avLst/>
              <a:gdLst>
                <a:gd name="T0" fmla="*/ 21 w 494"/>
                <a:gd name="T1" fmla="*/ 10 h 297"/>
                <a:gd name="T2" fmla="*/ 24 w 494"/>
                <a:gd name="T3" fmla="*/ 6 h 297"/>
                <a:gd name="T4" fmla="*/ 24 w 494"/>
                <a:gd name="T5" fmla="*/ 5 h 297"/>
                <a:gd name="T6" fmla="*/ 26 w 494"/>
                <a:gd name="T7" fmla="*/ 5 h 297"/>
                <a:gd name="T8" fmla="*/ 26 w 494"/>
                <a:gd name="T9" fmla="*/ 3 h 297"/>
                <a:gd name="T10" fmla="*/ 28 w 494"/>
                <a:gd name="T11" fmla="*/ 2 h 297"/>
                <a:gd name="T12" fmla="*/ 26 w 494"/>
                <a:gd name="T13" fmla="*/ 0 h 297"/>
                <a:gd name="T14" fmla="*/ 26 w 494"/>
                <a:gd name="T15" fmla="*/ 2 h 297"/>
                <a:gd name="T16" fmla="*/ 23 w 494"/>
                <a:gd name="T17" fmla="*/ 1 h 297"/>
                <a:gd name="T18" fmla="*/ 21 w 494"/>
                <a:gd name="T19" fmla="*/ 3 h 297"/>
                <a:gd name="T20" fmla="*/ 20 w 494"/>
                <a:gd name="T21" fmla="*/ 5 h 297"/>
                <a:gd name="T22" fmla="*/ 16 w 494"/>
                <a:gd name="T23" fmla="*/ 6 h 297"/>
                <a:gd name="T24" fmla="*/ 13 w 494"/>
                <a:gd name="T25" fmla="*/ 6 h 297"/>
                <a:gd name="T26" fmla="*/ 12 w 494"/>
                <a:gd name="T27" fmla="*/ 4 h 297"/>
                <a:gd name="T28" fmla="*/ 9 w 494"/>
                <a:gd name="T29" fmla="*/ 6 h 297"/>
                <a:gd name="T30" fmla="*/ 7 w 494"/>
                <a:gd name="T31" fmla="*/ 6 h 297"/>
                <a:gd name="T32" fmla="*/ 4 w 494"/>
                <a:gd name="T33" fmla="*/ 9 h 297"/>
                <a:gd name="T34" fmla="*/ 2 w 494"/>
                <a:gd name="T35" fmla="*/ 12 h 297"/>
                <a:gd name="T36" fmla="*/ 0 w 494"/>
                <a:gd name="T37" fmla="*/ 15 h 297"/>
                <a:gd name="T38" fmla="*/ 1 w 494"/>
                <a:gd name="T39" fmla="*/ 17 h 297"/>
                <a:gd name="T40" fmla="*/ 3 w 494"/>
                <a:gd name="T41" fmla="*/ 16 h 297"/>
                <a:gd name="T42" fmla="*/ 6 w 494"/>
                <a:gd name="T43" fmla="*/ 16 h 297"/>
                <a:gd name="T44" fmla="*/ 8 w 494"/>
                <a:gd name="T45" fmla="*/ 16 h 297"/>
                <a:gd name="T46" fmla="*/ 10 w 494"/>
                <a:gd name="T47" fmla="*/ 14 h 297"/>
                <a:gd name="T48" fmla="*/ 11 w 494"/>
                <a:gd name="T49" fmla="*/ 12 h 297"/>
                <a:gd name="T50" fmla="*/ 18 w 494"/>
                <a:gd name="T51" fmla="*/ 11 h 297"/>
                <a:gd name="T52" fmla="*/ 21 w 494"/>
                <a:gd name="T53" fmla="*/ 10 h 2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4"/>
                <a:gd name="T82" fmla="*/ 0 h 297"/>
                <a:gd name="T83" fmla="*/ 494 w 494"/>
                <a:gd name="T84" fmla="*/ 297 h 2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4" h="297">
                  <a:moveTo>
                    <a:pt x="374" y="169"/>
                  </a:moveTo>
                  <a:lnTo>
                    <a:pt x="433" y="115"/>
                  </a:lnTo>
                  <a:lnTo>
                    <a:pt x="434" y="86"/>
                  </a:lnTo>
                  <a:lnTo>
                    <a:pt x="462" y="88"/>
                  </a:lnTo>
                  <a:lnTo>
                    <a:pt x="465" y="58"/>
                  </a:lnTo>
                  <a:lnTo>
                    <a:pt x="494" y="32"/>
                  </a:lnTo>
                  <a:lnTo>
                    <a:pt x="468" y="0"/>
                  </a:lnTo>
                  <a:lnTo>
                    <a:pt x="466" y="29"/>
                  </a:lnTo>
                  <a:lnTo>
                    <a:pt x="409" y="26"/>
                  </a:lnTo>
                  <a:lnTo>
                    <a:pt x="379" y="54"/>
                  </a:lnTo>
                  <a:lnTo>
                    <a:pt x="350" y="82"/>
                  </a:lnTo>
                  <a:lnTo>
                    <a:pt x="292" y="107"/>
                  </a:lnTo>
                  <a:lnTo>
                    <a:pt x="235" y="105"/>
                  </a:lnTo>
                  <a:lnTo>
                    <a:pt x="209" y="74"/>
                  </a:lnTo>
                  <a:lnTo>
                    <a:pt x="150" y="100"/>
                  </a:lnTo>
                  <a:lnTo>
                    <a:pt x="122" y="99"/>
                  </a:lnTo>
                  <a:lnTo>
                    <a:pt x="63" y="154"/>
                  </a:lnTo>
                  <a:lnTo>
                    <a:pt x="31" y="210"/>
                  </a:lnTo>
                  <a:lnTo>
                    <a:pt x="0" y="266"/>
                  </a:lnTo>
                  <a:lnTo>
                    <a:pt x="27" y="297"/>
                  </a:lnTo>
                  <a:lnTo>
                    <a:pt x="56" y="270"/>
                  </a:lnTo>
                  <a:lnTo>
                    <a:pt x="113" y="273"/>
                  </a:lnTo>
                  <a:lnTo>
                    <a:pt x="142" y="274"/>
                  </a:lnTo>
                  <a:lnTo>
                    <a:pt x="171" y="246"/>
                  </a:lnTo>
                  <a:lnTo>
                    <a:pt x="201" y="219"/>
                  </a:lnTo>
                  <a:lnTo>
                    <a:pt x="315" y="196"/>
                  </a:lnTo>
                  <a:lnTo>
                    <a:pt x="374" y="169"/>
                  </a:lnTo>
                  <a:close/>
                </a:path>
              </a:pathLst>
            </a:custGeom>
            <a:solidFill>
              <a:srgbClr val="B2C2D1"/>
            </a:solidFill>
            <a:ln w="9525">
              <a:noFill/>
              <a:round/>
              <a:headEnd/>
              <a:tailEnd/>
            </a:ln>
          </p:spPr>
          <p:txBody>
            <a:bodyPr/>
            <a:lstStyle/>
            <a:p>
              <a:endParaRPr lang="el-GR"/>
            </a:p>
          </p:txBody>
        </p:sp>
        <p:sp>
          <p:nvSpPr>
            <p:cNvPr id="189" name="Freeform 66"/>
            <p:cNvSpPr>
              <a:spLocks/>
            </p:cNvSpPr>
            <p:nvPr/>
          </p:nvSpPr>
          <p:spPr bwMode="auto">
            <a:xfrm>
              <a:off x="3518" y="2338"/>
              <a:ext cx="117" cy="71"/>
            </a:xfrm>
            <a:custGeom>
              <a:avLst/>
              <a:gdLst>
                <a:gd name="T0" fmla="*/ 21 w 494"/>
                <a:gd name="T1" fmla="*/ 10 h 297"/>
                <a:gd name="T2" fmla="*/ 24 w 494"/>
                <a:gd name="T3" fmla="*/ 6 h 297"/>
                <a:gd name="T4" fmla="*/ 24 w 494"/>
                <a:gd name="T5" fmla="*/ 5 h 297"/>
                <a:gd name="T6" fmla="*/ 26 w 494"/>
                <a:gd name="T7" fmla="*/ 5 h 297"/>
                <a:gd name="T8" fmla="*/ 26 w 494"/>
                <a:gd name="T9" fmla="*/ 3 h 297"/>
                <a:gd name="T10" fmla="*/ 28 w 494"/>
                <a:gd name="T11" fmla="*/ 2 h 297"/>
                <a:gd name="T12" fmla="*/ 26 w 494"/>
                <a:gd name="T13" fmla="*/ 0 h 297"/>
                <a:gd name="T14" fmla="*/ 26 w 494"/>
                <a:gd name="T15" fmla="*/ 2 h 297"/>
                <a:gd name="T16" fmla="*/ 23 w 494"/>
                <a:gd name="T17" fmla="*/ 1 h 297"/>
                <a:gd name="T18" fmla="*/ 21 w 494"/>
                <a:gd name="T19" fmla="*/ 3 h 297"/>
                <a:gd name="T20" fmla="*/ 20 w 494"/>
                <a:gd name="T21" fmla="*/ 5 h 297"/>
                <a:gd name="T22" fmla="*/ 16 w 494"/>
                <a:gd name="T23" fmla="*/ 6 h 297"/>
                <a:gd name="T24" fmla="*/ 13 w 494"/>
                <a:gd name="T25" fmla="*/ 6 h 297"/>
                <a:gd name="T26" fmla="*/ 12 w 494"/>
                <a:gd name="T27" fmla="*/ 4 h 297"/>
                <a:gd name="T28" fmla="*/ 9 w 494"/>
                <a:gd name="T29" fmla="*/ 6 h 297"/>
                <a:gd name="T30" fmla="*/ 7 w 494"/>
                <a:gd name="T31" fmla="*/ 6 h 297"/>
                <a:gd name="T32" fmla="*/ 4 w 494"/>
                <a:gd name="T33" fmla="*/ 9 h 297"/>
                <a:gd name="T34" fmla="*/ 2 w 494"/>
                <a:gd name="T35" fmla="*/ 12 h 297"/>
                <a:gd name="T36" fmla="*/ 0 w 494"/>
                <a:gd name="T37" fmla="*/ 15 h 297"/>
                <a:gd name="T38" fmla="*/ 1 w 494"/>
                <a:gd name="T39" fmla="*/ 17 h 297"/>
                <a:gd name="T40" fmla="*/ 3 w 494"/>
                <a:gd name="T41" fmla="*/ 16 h 297"/>
                <a:gd name="T42" fmla="*/ 6 w 494"/>
                <a:gd name="T43" fmla="*/ 16 h 297"/>
                <a:gd name="T44" fmla="*/ 8 w 494"/>
                <a:gd name="T45" fmla="*/ 16 h 297"/>
                <a:gd name="T46" fmla="*/ 10 w 494"/>
                <a:gd name="T47" fmla="*/ 14 h 297"/>
                <a:gd name="T48" fmla="*/ 11 w 494"/>
                <a:gd name="T49" fmla="*/ 12 h 297"/>
                <a:gd name="T50" fmla="*/ 18 w 494"/>
                <a:gd name="T51" fmla="*/ 11 h 297"/>
                <a:gd name="T52" fmla="*/ 21 w 494"/>
                <a:gd name="T53" fmla="*/ 10 h 29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4"/>
                <a:gd name="T82" fmla="*/ 0 h 297"/>
                <a:gd name="T83" fmla="*/ 494 w 494"/>
                <a:gd name="T84" fmla="*/ 297 h 29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4" h="297">
                  <a:moveTo>
                    <a:pt x="374" y="169"/>
                  </a:moveTo>
                  <a:lnTo>
                    <a:pt x="433" y="115"/>
                  </a:lnTo>
                  <a:lnTo>
                    <a:pt x="434" y="86"/>
                  </a:lnTo>
                  <a:lnTo>
                    <a:pt x="462" y="88"/>
                  </a:lnTo>
                  <a:lnTo>
                    <a:pt x="465" y="58"/>
                  </a:lnTo>
                  <a:lnTo>
                    <a:pt x="494" y="32"/>
                  </a:lnTo>
                  <a:lnTo>
                    <a:pt x="468" y="0"/>
                  </a:lnTo>
                  <a:lnTo>
                    <a:pt x="466" y="29"/>
                  </a:lnTo>
                  <a:lnTo>
                    <a:pt x="409" y="26"/>
                  </a:lnTo>
                  <a:lnTo>
                    <a:pt x="379" y="54"/>
                  </a:lnTo>
                  <a:lnTo>
                    <a:pt x="350" y="82"/>
                  </a:lnTo>
                  <a:lnTo>
                    <a:pt x="292" y="107"/>
                  </a:lnTo>
                  <a:lnTo>
                    <a:pt x="235" y="105"/>
                  </a:lnTo>
                  <a:lnTo>
                    <a:pt x="209" y="74"/>
                  </a:lnTo>
                  <a:lnTo>
                    <a:pt x="150" y="100"/>
                  </a:lnTo>
                  <a:lnTo>
                    <a:pt x="122" y="99"/>
                  </a:lnTo>
                  <a:lnTo>
                    <a:pt x="63" y="154"/>
                  </a:lnTo>
                  <a:lnTo>
                    <a:pt x="31" y="210"/>
                  </a:lnTo>
                  <a:lnTo>
                    <a:pt x="0" y="266"/>
                  </a:lnTo>
                  <a:lnTo>
                    <a:pt x="27" y="297"/>
                  </a:lnTo>
                  <a:lnTo>
                    <a:pt x="56" y="270"/>
                  </a:lnTo>
                  <a:lnTo>
                    <a:pt x="113" y="273"/>
                  </a:lnTo>
                  <a:lnTo>
                    <a:pt x="142" y="274"/>
                  </a:lnTo>
                  <a:lnTo>
                    <a:pt x="171" y="246"/>
                  </a:lnTo>
                  <a:lnTo>
                    <a:pt x="201" y="219"/>
                  </a:lnTo>
                  <a:lnTo>
                    <a:pt x="315" y="196"/>
                  </a:lnTo>
                  <a:lnTo>
                    <a:pt x="374" y="169"/>
                  </a:lnTo>
                </a:path>
              </a:pathLst>
            </a:custGeom>
            <a:solidFill>
              <a:srgbClr val="B2C2D1"/>
            </a:solidFill>
            <a:ln w="9525">
              <a:noFill/>
              <a:round/>
              <a:headEnd/>
              <a:tailEnd/>
            </a:ln>
          </p:spPr>
          <p:txBody>
            <a:bodyPr/>
            <a:lstStyle/>
            <a:p>
              <a:endParaRPr lang="el-GR"/>
            </a:p>
          </p:txBody>
        </p:sp>
        <p:sp>
          <p:nvSpPr>
            <p:cNvPr id="190" name="Freeform 67"/>
            <p:cNvSpPr>
              <a:spLocks/>
            </p:cNvSpPr>
            <p:nvPr/>
          </p:nvSpPr>
          <p:spPr bwMode="auto">
            <a:xfrm>
              <a:off x="3283" y="1608"/>
              <a:ext cx="22" cy="42"/>
            </a:xfrm>
            <a:custGeom>
              <a:avLst/>
              <a:gdLst>
                <a:gd name="T0" fmla="*/ 1 w 90"/>
                <a:gd name="T1" fmla="*/ 10 h 173"/>
                <a:gd name="T2" fmla="*/ 2 w 90"/>
                <a:gd name="T3" fmla="*/ 8 h 173"/>
                <a:gd name="T4" fmla="*/ 3 w 90"/>
                <a:gd name="T5" fmla="*/ 8 h 173"/>
                <a:gd name="T6" fmla="*/ 3 w 90"/>
                <a:gd name="T7" fmla="*/ 7 h 173"/>
                <a:gd name="T8" fmla="*/ 5 w 90"/>
                <a:gd name="T9" fmla="*/ 5 h 173"/>
                <a:gd name="T10" fmla="*/ 5 w 90"/>
                <a:gd name="T11" fmla="*/ 4 h 173"/>
                <a:gd name="T12" fmla="*/ 5 w 90"/>
                <a:gd name="T13" fmla="*/ 2 h 173"/>
                <a:gd name="T14" fmla="*/ 2 w 90"/>
                <a:gd name="T15" fmla="*/ 0 h 173"/>
                <a:gd name="T16" fmla="*/ 2 w 90"/>
                <a:gd name="T17" fmla="*/ 2 h 173"/>
                <a:gd name="T18" fmla="*/ 0 w 90"/>
                <a:gd name="T19" fmla="*/ 5 h 173"/>
                <a:gd name="T20" fmla="*/ 0 w 90"/>
                <a:gd name="T21" fmla="*/ 7 h 173"/>
                <a:gd name="T22" fmla="*/ 0 w 90"/>
                <a:gd name="T23" fmla="*/ 8 h 173"/>
                <a:gd name="T24" fmla="*/ 1 w 90"/>
                <a:gd name="T25" fmla="*/ 10 h 1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73"/>
                <a:gd name="T41" fmla="*/ 90 w 90"/>
                <a:gd name="T42" fmla="*/ 173 h 1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73">
                  <a:moveTo>
                    <a:pt x="26" y="173"/>
                  </a:moveTo>
                  <a:lnTo>
                    <a:pt x="28" y="145"/>
                  </a:lnTo>
                  <a:lnTo>
                    <a:pt x="56" y="146"/>
                  </a:lnTo>
                  <a:lnTo>
                    <a:pt x="57" y="117"/>
                  </a:lnTo>
                  <a:lnTo>
                    <a:pt x="86" y="90"/>
                  </a:lnTo>
                  <a:lnTo>
                    <a:pt x="87" y="61"/>
                  </a:lnTo>
                  <a:lnTo>
                    <a:pt x="90" y="31"/>
                  </a:lnTo>
                  <a:lnTo>
                    <a:pt x="35" y="0"/>
                  </a:lnTo>
                  <a:lnTo>
                    <a:pt x="34" y="29"/>
                  </a:lnTo>
                  <a:lnTo>
                    <a:pt x="3" y="85"/>
                  </a:lnTo>
                  <a:lnTo>
                    <a:pt x="1" y="115"/>
                  </a:lnTo>
                  <a:lnTo>
                    <a:pt x="0" y="143"/>
                  </a:lnTo>
                  <a:lnTo>
                    <a:pt x="26" y="173"/>
                  </a:lnTo>
                  <a:close/>
                </a:path>
              </a:pathLst>
            </a:custGeom>
            <a:solidFill>
              <a:srgbClr val="B2C2D1"/>
            </a:solidFill>
            <a:ln w="9525">
              <a:noFill/>
              <a:round/>
              <a:headEnd/>
              <a:tailEnd/>
            </a:ln>
          </p:spPr>
          <p:txBody>
            <a:bodyPr/>
            <a:lstStyle/>
            <a:p>
              <a:endParaRPr lang="el-GR"/>
            </a:p>
          </p:txBody>
        </p:sp>
        <p:sp>
          <p:nvSpPr>
            <p:cNvPr id="191" name="Freeform 68"/>
            <p:cNvSpPr>
              <a:spLocks/>
            </p:cNvSpPr>
            <p:nvPr/>
          </p:nvSpPr>
          <p:spPr bwMode="auto">
            <a:xfrm>
              <a:off x="3283" y="1608"/>
              <a:ext cx="22" cy="42"/>
            </a:xfrm>
            <a:custGeom>
              <a:avLst/>
              <a:gdLst>
                <a:gd name="T0" fmla="*/ 1 w 90"/>
                <a:gd name="T1" fmla="*/ 10 h 173"/>
                <a:gd name="T2" fmla="*/ 2 w 90"/>
                <a:gd name="T3" fmla="*/ 8 h 173"/>
                <a:gd name="T4" fmla="*/ 3 w 90"/>
                <a:gd name="T5" fmla="*/ 8 h 173"/>
                <a:gd name="T6" fmla="*/ 3 w 90"/>
                <a:gd name="T7" fmla="*/ 7 h 173"/>
                <a:gd name="T8" fmla="*/ 5 w 90"/>
                <a:gd name="T9" fmla="*/ 5 h 173"/>
                <a:gd name="T10" fmla="*/ 5 w 90"/>
                <a:gd name="T11" fmla="*/ 4 h 173"/>
                <a:gd name="T12" fmla="*/ 5 w 90"/>
                <a:gd name="T13" fmla="*/ 2 h 173"/>
                <a:gd name="T14" fmla="*/ 2 w 90"/>
                <a:gd name="T15" fmla="*/ 0 h 173"/>
                <a:gd name="T16" fmla="*/ 2 w 90"/>
                <a:gd name="T17" fmla="*/ 2 h 173"/>
                <a:gd name="T18" fmla="*/ 0 w 90"/>
                <a:gd name="T19" fmla="*/ 5 h 173"/>
                <a:gd name="T20" fmla="*/ 0 w 90"/>
                <a:gd name="T21" fmla="*/ 7 h 173"/>
                <a:gd name="T22" fmla="*/ 0 w 90"/>
                <a:gd name="T23" fmla="*/ 8 h 173"/>
                <a:gd name="T24" fmla="*/ 1 w 90"/>
                <a:gd name="T25" fmla="*/ 10 h 1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0"/>
                <a:gd name="T40" fmla="*/ 0 h 173"/>
                <a:gd name="T41" fmla="*/ 90 w 90"/>
                <a:gd name="T42" fmla="*/ 173 h 1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0" h="173">
                  <a:moveTo>
                    <a:pt x="26" y="173"/>
                  </a:moveTo>
                  <a:lnTo>
                    <a:pt x="28" y="145"/>
                  </a:lnTo>
                  <a:lnTo>
                    <a:pt x="56" y="146"/>
                  </a:lnTo>
                  <a:lnTo>
                    <a:pt x="57" y="117"/>
                  </a:lnTo>
                  <a:lnTo>
                    <a:pt x="86" y="90"/>
                  </a:lnTo>
                  <a:lnTo>
                    <a:pt x="87" y="61"/>
                  </a:lnTo>
                  <a:lnTo>
                    <a:pt x="90" y="31"/>
                  </a:lnTo>
                  <a:lnTo>
                    <a:pt x="35" y="0"/>
                  </a:lnTo>
                  <a:lnTo>
                    <a:pt x="34" y="29"/>
                  </a:lnTo>
                  <a:lnTo>
                    <a:pt x="3" y="85"/>
                  </a:lnTo>
                  <a:lnTo>
                    <a:pt x="1" y="115"/>
                  </a:lnTo>
                  <a:lnTo>
                    <a:pt x="0" y="143"/>
                  </a:lnTo>
                  <a:lnTo>
                    <a:pt x="26" y="173"/>
                  </a:lnTo>
                </a:path>
              </a:pathLst>
            </a:custGeom>
            <a:solidFill>
              <a:srgbClr val="B2C2D1"/>
            </a:solidFill>
            <a:ln w="9525">
              <a:noFill/>
              <a:round/>
              <a:headEnd/>
              <a:tailEnd/>
            </a:ln>
          </p:spPr>
          <p:txBody>
            <a:bodyPr/>
            <a:lstStyle/>
            <a:p>
              <a:endParaRPr lang="el-GR"/>
            </a:p>
          </p:txBody>
        </p:sp>
        <p:sp>
          <p:nvSpPr>
            <p:cNvPr id="192" name="Freeform 69"/>
            <p:cNvSpPr>
              <a:spLocks/>
            </p:cNvSpPr>
            <p:nvPr/>
          </p:nvSpPr>
          <p:spPr bwMode="auto">
            <a:xfrm>
              <a:off x="3425" y="1979"/>
              <a:ext cx="21" cy="28"/>
            </a:xfrm>
            <a:custGeom>
              <a:avLst/>
              <a:gdLst>
                <a:gd name="T0" fmla="*/ 5 w 86"/>
                <a:gd name="T1" fmla="*/ 2 h 118"/>
                <a:gd name="T2" fmla="*/ 5 w 86"/>
                <a:gd name="T3" fmla="*/ 3 h 118"/>
                <a:gd name="T4" fmla="*/ 5 w 86"/>
                <a:gd name="T5" fmla="*/ 5 h 118"/>
                <a:gd name="T6" fmla="*/ 5 w 86"/>
                <a:gd name="T7" fmla="*/ 7 h 118"/>
                <a:gd name="T8" fmla="*/ 1 w 86"/>
                <a:gd name="T9" fmla="*/ 7 h 118"/>
                <a:gd name="T10" fmla="*/ 2 w 86"/>
                <a:gd name="T11" fmla="*/ 5 h 118"/>
                <a:gd name="T12" fmla="*/ 0 w 86"/>
                <a:gd name="T13" fmla="*/ 3 h 118"/>
                <a:gd name="T14" fmla="*/ 0 w 86"/>
                <a:gd name="T15" fmla="*/ 2 h 118"/>
                <a:gd name="T16" fmla="*/ 2 w 86"/>
                <a:gd name="T17" fmla="*/ 2 h 118"/>
                <a:gd name="T18" fmla="*/ 2 w 86"/>
                <a:gd name="T19" fmla="*/ 0 h 118"/>
                <a:gd name="T20" fmla="*/ 3 w 86"/>
                <a:gd name="T21" fmla="*/ 2 h 118"/>
                <a:gd name="T22" fmla="*/ 3 w 86"/>
                <a:gd name="T23" fmla="*/ 0 h 118"/>
                <a:gd name="T24" fmla="*/ 5 w 86"/>
                <a:gd name="T25" fmla="*/ 2 h 1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118"/>
                <a:gd name="T41" fmla="*/ 86 w 86"/>
                <a:gd name="T42" fmla="*/ 118 h 1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118">
                  <a:moveTo>
                    <a:pt x="86" y="32"/>
                  </a:moveTo>
                  <a:lnTo>
                    <a:pt x="84" y="61"/>
                  </a:lnTo>
                  <a:lnTo>
                    <a:pt x="83" y="90"/>
                  </a:lnTo>
                  <a:lnTo>
                    <a:pt x="82" y="118"/>
                  </a:lnTo>
                  <a:lnTo>
                    <a:pt x="26" y="116"/>
                  </a:lnTo>
                  <a:lnTo>
                    <a:pt x="27" y="87"/>
                  </a:lnTo>
                  <a:lnTo>
                    <a:pt x="0" y="57"/>
                  </a:lnTo>
                  <a:lnTo>
                    <a:pt x="1" y="28"/>
                  </a:lnTo>
                  <a:lnTo>
                    <a:pt x="30" y="30"/>
                  </a:lnTo>
                  <a:lnTo>
                    <a:pt x="32" y="0"/>
                  </a:lnTo>
                  <a:lnTo>
                    <a:pt x="58" y="31"/>
                  </a:lnTo>
                  <a:lnTo>
                    <a:pt x="59" y="1"/>
                  </a:lnTo>
                  <a:lnTo>
                    <a:pt x="86" y="32"/>
                  </a:lnTo>
                  <a:close/>
                </a:path>
              </a:pathLst>
            </a:custGeom>
            <a:solidFill>
              <a:srgbClr val="B2C2D1"/>
            </a:solidFill>
            <a:ln w="9525">
              <a:noFill/>
              <a:round/>
              <a:headEnd/>
              <a:tailEnd/>
            </a:ln>
          </p:spPr>
          <p:txBody>
            <a:bodyPr/>
            <a:lstStyle/>
            <a:p>
              <a:endParaRPr lang="el-GR"/>
            </a:p>
          </p:txBody>
        </p:sp>
        <p:sp>
          <p:nvSpPr>
            <p:cNvPr id="193" name="Freeform 70"/>
            <p:cNvSpPr>
              <a:spLocks/>
            </p:cNvSpPr>
            <p:nvPr/>
          </p:nvSpPr>
          <p:spPr bwMode="auto">
            <a:xfrm>
              <a:off x="3425" y="1979"/>
              <a:ext cx="21" cy="28"/>
            </a:xfrm>
            <a:custGeom>
              <a:avLst/>
              <a:gdLst>
                <a:gd name="T0" fmla="*/ 5 w 86"/>
                <a:gd name="T1" fmla="*/ 2 h 118"/>
                <a:gd name="T2" fmla="*/ 5 w 86"/>
                <a:gd name="T3" fmla="*/ 3 h 118"/>
                <a:gd name="T4" fmla="*/ 5 w 86"/>
                <a:gd name="T5" fmla="*/ 5 h 118"/>
                <a:gd name="T6" fmla="*/ 5 w 86"/>
                <a:gd name="T7" fmla="*/ 7 h 118"/>
                <a:gd name="T8" fmla="*/ 1 w 86"/>
                <a:gd name="T9" fmla="*/ 7 h 118"/>
                <a:gd name="T10" fmla="*/ 2 w 86"/>
                <a:gd name="T11" fmla="*/ 5 h 118"/>
                <a:gd name="T12" fmla="*/ 0 w 86"/>
                <a:gd name="T13" fmla="*/ 3 h 118"/>
                <a:gd name="T14" fmla="*/ 0 w 86"/>
                <a:gd name="T15" fmla="*/ 2 h 118"/>
                <a:gd name="T16" fmla="*/ 2 w 86"/>
                <a:gd name="T17" fmla="*/ 2 h 118"/>
                <a:gd name="T18" fmla="*/ 2 w 86"/>
                <a:gd name="T19" fmla="*/ 0 h 118"/>
                <a:gd name="T20" fmla="*/ 3 w 86"/>
                <a:gd name="T21" fmla="*/ 2 h 118"/>
                <a:gd name="T22" fmla="*/ 3 w 86"/>
                <a:gd name="T23" fmla="*/ 0 h 118"/>
                <a:gd name="T24" fmla="*/ 5 w 86"/>
                <a:gd name="T25" fmla="*/ 2 h 11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118"/>
                <a:gd name="T41" fmla="*/ 86 w 86"/>
                <a:gd name="T42" fmla="*/ 118 h 11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118">
                  <a:moveTo>
                    <a:pt x="86" y="32"/>
                  </a:moveTo>
                  <a:lnTo>
                    <a:pt x="84" y="61"/>
                  </a:lnTo>
                  <a:lnTo>
                    <a:pt x="83" y="90"/>
                  </a:lnTo>
                  <a:lnTo>
                    <a:pt x="82" y="118"/>
                  </a:lnTo>
                  <a:lnTo>
                    <a:pt x="26" y="116"/>
                  </a:lnTo>
                  <a:lnTo>
                    <a:pt x="27" y="87"/>
                  </a:lnTo>
                  <a:lnTo>
                    <a:pt x="0" y="57"/>
                  </a:lnTo>
                  <a:lnTo>
                    <a:pt x="1" y="28"/>
                  </a:lnTo>
                  <a:lnTo>
                    <a:pt x="30" y="30"/>
                  </a:lnTo>
                  <a:lnTo>
                    <a:pt x="32" y="0"/>
                  </a:lnTo>
                  <a:lnTo>
                    <a:pt x="58" y="31"/>
                  </a:lnTo>
                  <a:lnTo>
                    <a:pt x="59" y="1"/>
                  </a:lnTo>
                  <a:lnTo>
                    <a:pt x="86" y="32"/>
                  </a:lnTo>
                </a:path>
              </a:pathLst>
            </a:custGeom>
            <a:solidFill>
              <a:srgbClr val="B2C2D1"/>
            </a:solidFill>
            <a:ln w="9525">
              <a:noFill/>
              <a:round/>
              <a:headEnd/>
              <a:tailEnd/>
            </a:ln>
          </p:spPr>
          <p:txBody>
            <a:bodyPr/>
            <a:lstStyle/>
            <a:p>
              <a:endParaRPr lang="el-GR"/>
            </a:p>
          </p:txBody>
        </p:sp>
        <p:sp>
          <p:nvSpPr>
            <p:cNvPr id="194" name="Freeform 71"/>
            <p:cNvSpPr>
              <a:spLocks/>
            </p:cNvSpPr>
            <p:nvPr/>
          </p:nvSpPr>
          <p:spPr bwMode="auto">
            <a:xfrm>
              <a:off x="3665" y="2368"/>
              <a:ext cx="21" cy="41"/>
            </a:xfrm>
            <a:custGeom>
              <a:avLst/>
              <a:gdLst>
                <a:gd name="T0" fmla="*/ 2 w 91"/>
                <a:gd name="T1" fmla="*/ 5 h 175"/>
                <a:gd name="T2" fmla="*/ 3 w 91"/>
                <a:gd name="T3" fmla="*/ 5 h 175"/>
                <a:gd name="T4" fmla="*/ 3 w 91"/>
                <a:gd name="T5" fmla="*/ 3 h 175"/>
                <a:gd name="T6" fmla="*/ 2 w 91"/>
                <a:gd name="T7" fmla="*/ 2 h 175"/>
                <a:gd name="T8" fmla="*/ 2 w 91"/>
                <a:gd name="T9" fmla="*/ 0 h 175"/>
                <a:gd name="T10" fmla="*/ 3 w 91"/>
                <a:gd name="T11" fmla="*/ 0 h 175"/>
                <a:gd name="T12" fmla="*/ 5 w 91"/>
                <a:gd name="T13" fmla="*/ 0 h 175"/>
                <a:gd name="T14" fmla="*/ 5 w 91"/>
                <a:gd name="T15" fmla="*/ 3 h 175"/>
                <a:gd name="T16" fmla="*/ 3 w 91"/>
                <a:gd name="T17" fmla="*/ 6 h 175"/>
                <a:gd name="T18" fmla="*/ 3 w 91"/>
                <a:gd name="T19" fmla="*/ 8 h 175"/>
                <a:gd name="T20" fmla="*/ 3 w 91"/>
                <a:gd name="T21" fmla="*/ 10 h 175"/>
                <a:gd name="T22" fmla="*/ 0 w 91"/>
                <a:gd name="T23" fmla="*/ 8 h 175"/>
                <a:gd name="T24" fmla="*/ 0 w 91"/>
                <a:gd name="T25" fmla="*/ 3 h 175"/>
                <a:gd name="T26" fmla="*/ 2 w 91"/>
                <a:gd name="T27" fmla="*/ 3 h 175"/>
                <a:gd name="T28" fmla="*/ 2 w 91"/>
                <a:gd name="T29" fmla="*/ 5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1"/>
                <a:gd name="T46" fmla="*/ 0 h 175"/>
                <a:gd name="T47" fmla="*/ 91 w 9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1" h="175">
                  <a:moveTo>
                    <a:pt x="32" y="86"/>
                  </a:moveTo>
                  <a:lnTo>
                    <a:pt x="60" y="88"/>
                  </a:lnTo>
                  <a:lnTo>
                    <a:pt x="61" y="58"/>
                  </a:lnTo>
                  <a:lnTo>
                    <a:pt x="34" y="29"/>
                  </a:lnTo>
                  <a:lnTo>
                    <a:pt x="35" y="0"/>
                  </a:lnTo>
                  <a:lnTo>
                    <a:pt x="63" y="1"/>
                  </a:lnTo>
                  <a:lnTo>
                    <a:pt x="91" y="3"/>
                  </a:lnTo>
                  <a:lnTo>
                    <a:pt x="89" y="60"/>
                  </a:lnTo>
                  <a:lnTo>
                    <a:pt x="58" y="117"/>
                  </a:lnTo>
                  <a:lnTo>
                    <a:pt x="55" y="146"/>
                  </a:lnTo>
                  <a:lnTo>
                    <a:pt x="54" y="175"/>
                  </a:lnTo>
                  <a:lnTo>
                    <a:pt x="0" y="143"/>
                  </a:lnTo>
                  <a:lnTo>
                    <a:pt x="6" y="55"/>
                  </a:lnTo>
                  <a:lnTo>
                    <a:pt x="33" y="57"/>
                  </a:lnTo>
                  <a:lnTo>
                    <a:pt x="32" y="86"/>
                  </a:lnTo>
                  <a:close/>
                </a:path>
              </a:pathLst>
            </a:custGeom>
            <a:solidFill>
              <a:srgbClr val="B2C2D1"/>
            </a:solidFill>
            <a:ln w="9525">
              <a:noFill/>
              <a:round/>
              <a:headEnd/>
              <a:tailEnd/>
            </a:ln>
          </p:spPr>
          <p:txBody>
            <a:bodyPr/>
            <a:lstStyle/>
            <a:p>
              <a:endParaRPr lang="el-GR"/>
            </a:p>
          </p:txBody>
        </p:sp>
        <p:sp>
          <p:nvSpPr>
            <p:cNvPr id="195" name="Freeform 72"/>
            <p:cNvSpPr>
              <a:spLocks/>
            </p:cNvSpPr>
            <p:nvPr/>
          </p:nvSpPr>
          <p:spPr bwMode="auto">
            <a:xfrm>
              <a:off x="3665" y="2368"/>
              <a:ext cx="21" cy="41"/>
            </a:xfrm>
            <a:custGeom>
              <a:avLst/>
              <a:gdLst>
                <a:gd name="T0" fmla="*/ 2 w 91"/>
                <a:gd name="T1" fmla="*/ 5 h 175"/>
                <a:gd name="T2" fmla="*/ 3 w 91"/>
                <a:gd name="T3" fmla="*/ 5 h 175"/>
                <a:gd name="T4" fmla="*/ 3 w 91"/>
                <a:gd name="T5" fmla="*/ 3 h 175"/>
                <a:gd name="T6" fmla="*/ 2 w 91"/>
                <a:gd name="T7" fmla="*/ 2 h 175"/>
                <a:gd name="T8" fmla="*/ 2 w 91"/>
                <a:gd name="T9" fmla="*/ 0 h 175"/>
                <a:gd name="T10" fmla="*/ 3 w 91"/>
                <a:gd name="T11" fmla="*/ 0 h 175"/>
                <a:gd name="T12" fmla="*/ 5 w 91"/>
                <a:gd name="T13" fmla="*/ 0 h 175"/>
                <a:gd name="T14" fmla="*/ 5 w 91"/>
                <a:gd name="T15" fmla="*/ 3 h 175"/>
                <a:gd name="T16" fmla="*/ 3 w 91"/>
                <a:gd name="T17" fmla="*/ 6 h 175"/>
                <a:gd name="T18" fmla="*/ 3 w 91"/>
                <a:gd name="T19" fmla="*/ 8 h 175"/>
                <a:gd name="T20" fmla="*/ 3 w 91"/>
                <a:gd name="T21" fmla="*/ 10 h 175"/>
                <a:gd name="T22" fmla="*/ 0 w 91"/>
                <a:gd name="T23" fmla="*/ 8 h 175"/>
                <a:gd name="T24" fmla="*/ 0 w 91"/>
                <a:gd name="T25" fmla="*/ 3 h 175"/>
                <a:gd name="T26" fmla="*/ 2 w 91"/>
                <a:gd name="T27" fmla="*/ 3 h 175"/>
                <a:gd name="T28" fmla="*/ 2 w 91"/>
                <a:gd name="T29" fmla="*/ 5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1"/>
                <a:gd name="T46" fmla="*/ 0 h 175"/>
                <a:gd name="T47" fmla="*/ 91 w 9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1" h="175">
                  <a:moveTo>
                    <a:pt x="32" y="86"/>
                  </a:moveTo>
                  <a:lnTo>
                    <a:pt x="60" y="88"/>
                  </a:lnTo>
                  <a:lnTo>
                    <a:pt x="61" y="58"/>
                  </a:lnTo>
                  <a:lnTo>
                    <a:pt x="34" y="29"/>
                  </a:lnTo>
                  <a:lnTo>
                    <a:pt x="35" y="0"/>
                  </a:lnTo>
                  <a:lnTo>
                    <a:pt x="63" y="1"/>
                  </a:lnTo>
                  <a:lnTo>
                    <a:pt x="91" y="3"/>
                  </a:lnTo>
                  <a:lnTo>
                    <a:pt x="89" y="60"/>
                  </a:lnTo>
                  <a:lnTo>
                    <a:pt x="58" y="117"/>
                  </a:lnTo>
                  <a:lnTo>
                    <a:pt x="55" y="146"/>
                  </a:lnTo>
                  <a:lnTo>
                    <a:pt x="54" y="175"/>
                  </a:lnTo>
                  <a:lnTo>
                    <a:pt x="0" y="143"/>
                  </a:lnTo>
                  <a:lnTo>
                    <a:pt x="6" y="55"/>
                  </a:lnTo>
                  <a:lnTo>
                    <a:pt x="33" y="57"/>
                  </a:lnTo>
                  <a:lnTo>
                    <a:pt x="32" y="86"/>
                  </a:lnTo>
                </a:path>
              </a:pathLst>
            </a:custGeom>
            <a:solidFill>
              <a:srgbClr val="B2C2D1"/>
            </a:solidFill>
            <a:ln w="9525">
              <a:noFill/>
              <a:round/>
              <a:headEnd/>
              <a:tailEnd/>
            </a:ln>
          </p:spPr>
          <p:txBody>
            <a:bodyPr/>
            <a:lstStyle/>
            <a:p>
              <a:endParaRPr lang="el-GR"/>
            </a:p>
          </p:txBody>
        </p:sp>
        <p:sp>
          <p:nvSpPr>
            <p:cNvPr id="196" name="Freeform 73"/>
            <p:cNvSpPr>
              <a:spLocks/>
            </p:cNvSpPr>
            <p:nvPr/>
          </p:nvSpPr>
          <p:spPr bwMode="auto">
            <a:xfrm>
              <a:off x="3611" y="2023"/>
              <a:ext cx="21" cy="14"/>
            </a:xfrm>
            <a:custGeom>
              <a:avLst/>
              <a:gdLst>
                <a:gd name="T0" fmla="*/ 3 w 87"/>
                <a:gd name="T1" fmla="*/ 0 h 61"/>
                <a:gd name="T2" fmla="*/ 5 w 87"/>
                <a:gd name="T3" fmla="*/ 2 h 61"/>
                <a:gd name="T4" fmla="*/ 3 w 87"/>
                <a:gd name="T5" fmla="*/ 3 h 61"/>
                <a:gd name="T6" fmla="*/ 0 w 87"/>
                <a:gd name="T7" fmla="*/ 2 h 61"/>
                <a:gd name="T8" fmla="*/ 0 w 87"/>
                <a:gd name="T9" fmla="*/ 0 h 61"/>
                <a:gd name="T10" fmla="*/ 3 w 87"/>
                <a:gd name="T11" fmla="*/ 0 h 61"/>
                <a:gd name="T12" fmla="*/ 0 60000 65536"/>
                <a:gd name="T13" fmla="*/ 0 60000 65536"/>
                <a:gd name="T14" fmla="*/ 0 60000 65536"/>
                <a:gd name="T15" fmla="*/ 0 60000 65536"/>
                <a:gd name="T16" fmla="*/ 0 60000 65536"/>
                <a:gd name="T17" fmla="*/ 0 60000 65536"/>
                <a:gd name="T18" fmla="*/ 0 w 87"/>
                <a:gd name="T19" fmla="*/ 0 h 61"/>
                <a:gd name="T20" fmla="*/ 87 w 8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87" h="61">
                  <a:moveTo>
                    <a:pt x="60" y="4"/>
                  </a:moveTo>
                  <a:lnTo>
                    <a:pt x="87" y="34"/>
                  </a:lnTo>
                  <a:lnTo>
                    <a:pt x="56" y="61"/>
                  </a:lnTo>
                  <a:lnTo>
                    <a:pt x="0" y="30"/>
                  </a:lnTo>
                  <a:lnTo>
                    <a:pt x="0" y="0"/>
                  </a:lnTo>
                  <a:lnTo>
                    <a:pt x="60" y="4"/>
                  </a:lnTo>
                  <a:close/>
                </a:path>
              </a:pathLst>
            </a:custGeom>
            <a:solidFill>
              <a:srgbClr val="B2C2D1"/>
            </a:solidFill>
            <a:ln w="9525">
              <a:noFill/>
              <a:round/>
              <a:headEnd/>
              <a:tailEnd/>
            </a:ln>
          </p:spPr>
          <p:txBody>
            <a:bodyPr/>
            <a:lstStyle/>
            <a:p>
              <a:endParaRPr lang="el-GR"/>
            </a:p>
          </p:txBody>
        </p:sp>
        <p:sp>
          <p:nvSpPr>
            <p:cNvPr id="197" name="Freeform 74"/>
            <p:cNvSpPr>
              <a:spLocks/>
            </p:cNvSpPr>
            <p:nvPr/>
          </p:nvSpPr>
          <p:spPr bwMode="auto">
            <a:xfrm>
              <a:off x="3611" y="2023"/>
              <a:ext cx="21" cy="14"/>
            </a:xfrm>
            <a:custGeom>
              <a:avLst/>
              <a:gdLst>
                <a:gd name="T0" fmla="*/ 3 w 87"/>
                <a:gd name="T1" fmla="*/ 0 h 61"/>
                <a:gd name="T2" fmla="*/ 5 w 87"/>
                <a:gd name="T3" fmla="*/ 2 h 61"/>
                <a:gd name="T4" fmla="*/ 3 w 87"/>
                <a:gd name="T5" fmla="*/ 3 h 61"/>
                <a:gd name="T6" fmla="*/ 0 w 87"/>
                <a:gd name="T7" fmla="*/ 2 h 61"/>
                <a:gd name="T8" fmla="*/ 0 w 87"/>
                <a:gd name="T9" fmla="*/ 0 h 61"/>
                <a:gd name="T10" fmla="*/ 3 w 87"/>
                <a:gd name="T11" fmla="*/ 0 h 61"/>
                <a:gd name="T12" fmla="*/ 0 60000 65536"/>
                <a:gd name="T13" fmla="*/ 0 60000 65536"/>
                <a:gd name="T14" fmla="*/ 0 60000 65536"/>
                <a:gd name="T15" fmla="*/ 0 60000 65536"/>
                <a:gd name="T16" fmla="*/ 0 60000 65536"/>
                <a:gd name="T17" fmla="*/ 0 60000 65536"/>
                <a:gd name="T18" fmla="*/ 0 w 87"/>
                <a:gd name="T19" fmla="*/ 0 h 61"/>
                <a:gd name="T20" fmla="*/ 87 w 8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87" h="61">
                  <a:moveTo>
                    <a:pt x="60" y="4"/>
                  </a:moveTo>
                  <a:lnTo>
                    <a:pt x="87" y="34"/>
                  </a:lnTo>
                  <a:lnTo>
                    <a:pt x="56" y="61"/>
                  </a:lnTo>
                  <a:lnTo>
                    <a:pt x="0" y="30"/>
                  </a:lnTo>
                  <a:lnTo>
                    <a:pt x="0" y="0"/>
                  </a:lnTo>
                  <a:lnTo>
                    <a:pt x="60" y="4"/>
                  </a:lnTo>
                </a:path>
              </a:pathLst>
            </a:custGeom>
            <a:solidFill>
              <a:srgbClr val="B2C2D1"/>
            </a:solidFill>
            <a:ln w="9525">
              <a:noFill/>
              <a:round/>
              <a:headEnd/>
              <a:tailEnd/>
            </a:ln>
          </p:spPr>
          <p:txBody>
            <a:bodyPr/>
            <a:lstStyle/>
            <a:p>
              <a:endParaRPr lang="el-GR"/>
            </a:p>
          </p:txBody>
        </p:sp>
        <p:sp>
          <p:nvSpPr>
            <p:cNvPr id="198" name="Freeform 75"/>
            <p:cNvSpPr>
              <a:spLocks/>
            </p:cNvSpPr>
            <p:nvPr/>
          </p:nvSpPr>
          <p:spPr bwMode="auto">
            <a:xfrm>
              <a:off x="3178" y="2211"/>
              <a:ext cx="90" cy="120"/>
            </a:xfrm>
            <a:custGeom>
              <a:avLst/>
              <a:gdLst>
                <a:gd name="T0" fmla="*/ 18 w 379"/>
                <a:gd name="T1" fmla="*/ 20 h 509"/>
                <a:gd name="T2" fmla="*/ 21 w 379"/>
                <a:gd name="T3" fmla="*/ 22 h 509"/>
                <a:gd name="T4" fmla="*/ 21 w 379"/>
                <a:gd name="T5" fmla="*/ 24 h 509"/>
                <a:gd name="T6" fmla="*/ 20 w 379"/>
                <a:gd name="T7" fmla="*/ 24 h 509"/>
                <a:gd name="T8" fmla="*/ 19 w 379"/>
                <a:gd name="T9" fmla="*/ 27 h 509"/>
                <a:gd name="T10" fmla="*/ 18 w 379"/>
                <a:gd name="T11" fmla="*/ 27 h 509"/>
                <a:gd name="T12" fmla="*/ 18 w 379"/>
                <a:gd name="T13" fmla="*/ 28 h 509"/>
                <a:gd name="T14" fmla="*/ 16 w 379"/>
                <a:gd name="T15" fmla="*/ 28 h 509"/>
                <a:gd name="T16" fmla="*/ 14 w 379"/>
                <a:gd name="T17" fmla="*/ 21 h 509"/>
                <a:gd name="T18" fmla="*/ 12 w 379"/>
                <a:gd name="T19" fmla="*/ 21 h 509"/>
                <a:gd name="T20" fmla="*/ 12 w 379"/>
                <a:gd name="T21" fmla="*/ 20 h 509"/>
                <a:gd name="T22" fmla="*/ 9 w 379"/>
                <a:gd name="T23" fmla="*/ 17 h 509"/>
                <a:gd name="T24" fmla="*/ 7 w 379"/>
                <a:gd name="T25" fmla="*/ 16 h 509"/>
                <a:gd name="T26" fmla="*/ 6 w 379"/>
                <a:gd name="T27" fmla="*/ 11 h 509"/>
                <a:gd name="T28" fmla="*/ 5 w 379"/>
                <a:gd name="T29" fmla="*/ 11 h 509"/>
                <a:gd name="T30" fmla="*/ 3 w 379"/>
                <a:gd name="T31" fmla="*/ 11 h 509"/>
                <a:gd name="T32" fmla="*/ 1 w 379"/>
                <a:gd name="T33" fmla="*/ 8 h 509"/>
                <a:gd name="T34" fmla="*/ 0 w 379"/>
                <a:gd name="T35" fmla="*/ 6 h 509"/>
                <a:gd name="T36" fmla="*/ 2 w 379"/>
                <a:gd name="T37" fmla="*/ 6 h 509"/>
                <a:gd name="T38" fmla="*/ 2 w 379"/>
                <a:gd name="T39" fmla="*/ 5 h 509"/>
                <a:gd name="T40" fmla="*/ 2 w 379"/>
                <a:gd name="T41" fmla="*/ 3 h 509"/>
                <a:gd name="T42" fmla="*/ 3 w 379"/>
                <a:gd name="T43" fmla="*/ 1 h 509"/>
                <a:gd name="T44" fmla="*/ 5 w 379"/>
                <a:gd name="T45" fmla="*/ 1 h 509"/>
                <a:gd name="T46" fmla="*/ 7 w 379"/>
                <a:gd name="T47" fmla="*/ 0 h 509"/>
                <a:gd name="T48" fmla="*/ 8 w 379"/>
                <a:gd name="T49" fmla="*/ 0 h 509"/>
                <a:gd name="T50" fmla="*/ 8 w 379"/>
                <a:gd name="T51" fmla="*/ 3 h 509"/>
                <a:gd name="T52" fmla="*/ 11 w 379"/>
                <a:gd name="T53" fmla="*/ 5 h 509"/>
                <a:gd name="T54" fmla="*/ 11 w 379"/>
                <a:gd name="T55" fmla="*/ 8 h 509"/>
                <a:gd name="T56" fmla="*/ 16 w 379"/>
                <a:gd name="T57" fmla="*/ 10 h 509"/>
                <a:gd name="T58" fmla="*/ 19 w 379"/>
                <a:gd name="T59" fmla="*/ 9 h 509"/>
                <a:gd name="T60" fmla="*/ 19 w 379"/>
                <a:gd name="T61" fmla="*/ 14 h 509"/>
                <a:gd name="T62" fmla="*/ 19 w 379"/>
                <a:gd name="T63" fmla="*/ 17 h 509"/>
                <a:gd name="T64" fmla="*/ 20 w 379"/>
                <a:gd name="T65" fmla="*/ 17 h 509"/>
                <a:gd name="T66" fmla="*/ 18 w 379"/>
                <a:gd name="T67" fmla="*/ 20 h 5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9"/>
                <a:gd name="T103" fmla="*/ 0 h 509"/>
                <a:gd name="T104" fmla="*/ 379 w 379"/>
                <a:gd name="T105" fmla="*/ 509 h 5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9" h="509">
                  <a:moveTo>
                    <a:pt x="325" y="363"/>
                  </a:moveTo>
                  <a:lnTo>
                    <a:pt x="379" y="396"/>
                  </a:lnTo>
                  <a:lnTo>
                    <a:pt x="377" y="424"/>
                  </a:lnTo>
                  <a:lnTo>
                    <a:pt x="349" y="423"/>
                  </a:lnTo>
                  <a:lnTo>
                    <a:pt x="346" y="481"/>
                  </a:lnTo>
                  <a:lnTo>
                    <a:pt x="318" y="480"/>
                  </a:lnTo>
                  <a:lnTo>
                    <a:pt x="316" y="509"/>
                  </a:lnTo>
                  <a:lnTo>
                    <a:pt x="288" y="507"/>
                  </a:lnTo>
                  <a:lnTo>
                    <a:pt x="238" y="388"/>
                  </a:lnTo>
                  <a:lnTo>
                    <a:pt x="211" y="386"/>
                  </a:lnTo>
                  <a:lnTo>
                    <a:pt x="212" y="357"/>
                  </a:lnTo>
                  <a:lnTo>
                    <a:pt x="159" y="296"/>
                  </a:lnTo>
                  <a:lnTo>
                    <a:pt x="131" y="294"/>
                  </a:lnTo>
                  <a:lnTo>
                    <a:pt x="108" y="205"/>
                  </a:lnTo>
                  <a:lnTo>
                    <a:pt x="80" y="204"/>
                  </a:lnTo>
                  <a:lnTo>
                    <a:pt x="52" y="202"/>
                  </a:lnTo>
                  <a:lnTo>
                    <a:pt x="27" y="142"/>
                  </a:lnTo>
                  <a:lnTo>
                    <a:pt x="0" y="112"/>
                  </a:lnTo>
                  <a:lnTo>
                    <a:pt x="28" y="113"/>
                  </a:lnTo>
                  <a:lnTo>
                    <a:pt x="30" y="84"/>
                  </a:lnTo>
                  <a:lnTo>
                    <a:pt x="31" y="55"/>
                  </a:lnTo>
                  <a:lnTo>
                    <a:pt x="61" y="27"/>
                  </a:lnTo>
                  <a:lnTo>
                    <a:pt x="89" y="27"/>
                  </a:lnTo>
                  <a:lnTo>
                    <a:pt x="119" y="0"/>
                  </a:lnTo>
                  <a:lnTo>
                    <a:pt x="147" y="3"/>
                  </a:lnTo>
                  <a:lnTo>
                    <a:pt x="143" y="60"/>
                  </a:lnTo>
                  <a:lnTo>
                    <a:pt x="198" y="92"/>
                  </a:lnTo>
                  <a:lnTo>
                    <a:pt x="195" y="151"/>
                  </a:lnTo>
                  <a:lnTo>
                    <a:pt x="277" y="184"/>
                  </a:lnTo>
                  <a:lnTo>
                    <a:pt x="335" y="158"/>
                  </a:lnTo>
                  <a:lnTo>
                    <a:pt x="330" y="246"/>
                  </a:lnTo>
                  <a:lnTo>
                    <a:pt x="327" y="305"/>
                  </a:lnTo>
                  <a:lnTo>
                    <a:pt x="355" y="306"/>
                  </a:lnTo>
                  <a:lnTo>
                    <a:pt x="325" y="363"/>
                  </a:lnTo>
                  <a:close/>
                </a:path>
              </a:pathLst>
            </a:custGeom>
            <a:solidFill>
              <a:srgbClr val="B2C2D1"/>
            </a:solidFill>
            <a:ln w="9525">
              <a:noFill/>
              <a:round/>
              <a:headEnd/>
              <a:tailEnd/>
            </a:ln>
          </p:spPr>
          <p:txBody>
            <a:bodyPr/>
            <a:lstStyle/>
            <a:p>
              <a:endParaRPr lang="el-GR"/>
            </a:p>
          </p:txBody>
        </p:sp>
        <p:sp>
          <p:nvSpPr>
            <p:cNvPr id="199" name="Freeform 76"/>
            <p:cNvSpPr>
              <a:spLocks/>
            </p:cNvSpPr>
            <p:nvPr/>
          </p:nvSpPr>
          <p:spPr bwMode="auto">
            <a:xfrm>
              <a:off x="3178" y="2211"/>
              <a:ext cx="90" cy="120"/>
            </a:xfrm>
            <a:custGeom>
              <a:avLst/>
              <a:gdLst>
                <a:gd name="T0" fmla="*/ 18 w 379"/>
                <a:gd name="T1" fmla="*/ 20 h 509"/>
                <a:gd name="T2" fmla="*/ 21 w 379"/>
                <a:gd name="T3" fmla="*/ 22 h 509"/>
                <a:gd name="T4" fmla="*/ 21 w 379"/>
                <a:gd name="T5" fmla="*/ 24 h 509"/>
                <a:gd name="T6" fmla="*/ 20 w 379"/>
                <a:gd name="T7" fmla="*/ 24 h 509"/>
                <a:gd name="T8" fmla="*/ 19 w 379"/>
                <a:gd name="T9" fmla="*/ 27 h 509"/>
                <a:gd name="T10" fmla="*/ 18 w 379"/>
                <a:gd name="T11" fmla="*/ 27 h 509"/>
                <a:gd name="T12" fmla="*/ 18 w 379"/>
                <a:gd name="T13" fmla="*/ 28 h 509"/>
                <a:gd name="T14" fmla="*/ 16 w 379"/>
                <a:gd name="T15" fmla="*/ 28 h 509"/>
                <a:gd name="T16" fmla="*/ 14 w 379"/>
                <a:gd name="T17" fmla="*/ 21 h 509"/>
                <a:gd name="T18" fmla="*/ 12 w 379"/>
                <a:gd name="T19" fmla="*/ 21 h 509"/>
                <a:gd name="T20" fmla="*/ 12 w 379"/>
                <a:gd name="T21" fmla="*/ 20 h 509"/>
                <a:gd name="T22" fmla="*/ 9 w 379"/>
                <a:gd name="T23" fmla="*/ 17 h 509"/>
                <a:gd name="T24" fmla="*/ 7 w 379"/>
                <a:gd name="T25" fmla="*/ 16 h 509"/>
                <a:gd name="T26" fmla="*/ 6 w 379"/>
                <a:gd name="T27" fmla="*/ 11 h 509"/>
                <a:gd name="T28" fmla="*/ 5 w 379"/>
                <a:gd name="T29" fmla="*/ 11 h 509"/>
                <a:gd name="T30" fmla="*/ 3 w 379"/>
                <a:gd name="T31" fmla="*/ 11 h 509"/>
                <a:gd name="T32" fmla="*/ 1 w 379"/>
                <a:gd name="T33" fmla="*/ 8 h 509"/>
                <a:gd name="T34" fmla="*/ 0 w 379"/>
                <a:gd name="T35" fmla="*/ 6 h 509"/>
                <a:gd name="T36" fmla="*/ 2 w 379"/>
                <a:gd name="T37" fmla="*/ 6 h 509"/>
                <a:gd name="T38" fmla="*/ 2 w 379"/>
                <a:gd name="T39" fmla="*/ 5 h 509"/>
                <a:gd name="T40" fmla="*/ 2 w 379"/>
                <a:gd name="T41" fmla="*/ 3 h 509"/>
                <a:gd name="T42" fmla="*/ 3 w 379"/>
                <a:gd name="T43" fmla="*/ 1 h 509"/>
                <a:gd name="T44" fmla="*/ 5 w 379"/>
                <a:gd name="T45" fmla="*/ 1 h 509"/>
                <a:gd name="T46" fmla="*/ 7 w 379"/>
                <a:gd name="T47" fmla="*/ 0 h 509"/>
                <a:gd name="T48" fmla="*/ 8 w 379"/>
                <a:gd name="T49" fmla="*/ 0 h 509"/>
                <a:gd name="T50" fmla="*/ 8 w 379"/>
                <a:gd name="T51" fmla="*/ 3 h 509"/>
                <a:gd name="T52" fmla="*/ 11 w 379"/>
                <a:gd name="T53" fmla="*/ 5 h 509"/>
                <a:gd name="T54" fmla="*/ 11 w 379"/>
                <a:gd name="T55" fmla="*/ 8 h 509"/>
                <a:gd name="T56" fmla="*/ 16 w 379"/>
                <a:gd name="T57" fmla="*/ 10 h 509"/>
                <a:gd name="T58" fmla="*/ 19 w 379"/>
                <a:gd name="T59" fmla="*/ 9 h 509"/>
                <a:gd name="T60" fmla="*/ 19 w 379"/>
                <a:gd name="T61" fmla="*/ 14 h 509"/>
                <a:gd name="T62" fmla="*/ 19 w 379"/>
                <a:gd name="T63" fmla="*/ 17 h 509"/>
                <a:gd name="T64" fmla="*/ 20 w 379"/>
                <a:gd name="T65" fmla="*/ 17 h 509"/>
                <a:gd name="T66" fmla="*/ 18 w 379"/>
                <a:gd name="T67" fmla="*/ 20 h 50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79"/>
                <a:gd name="T103" fmla="*/ 0 h 509"/>
                <a:gd name="T104" fmla="*/ 379 w 379"/>
                <a:gd name="T105" fmla="*/ 509 h 50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79" h="509">
                  <a:moveTo>
                    <a:pt x="325" y="363"/>
                  </a:moveTo>
                  <a:lnTo>
                    <a:pt x="379" y="396"/>
                  </a:lnTo>
                  <a:lnTo>
                    <a:pt x="377" y="424"/>
                  </a:lnTo>
                  <a:lnTo>
                    <a:pt x="349" y="423"/>
                  </a:lnTo>
                  <a:lnTo>
                    <a:pt x="346" y="481"/>
                  </a:lnTo>
                  <a:lnTo>
                    <a:pt x="318" y="480"/>
                  </a:lnTo>
                  <a:lnTo>
                    <a:pt x="316" y="509"/>
                  </a:lnTo>
                  <a:lnTo>
                    <a:pt x="288" y="507"/>
                  </a:lnTo>
                  <a:lnTo>
                    <a:pt x="238" y="388"/>
                  </a:lnTo>
                  <a:lnTo>
                    <a:pt x="211" y="386"/>
                  </a:lnTo>
                  <a:lnTo>
                    <a:pt x="212" y="357"/>
                  </a:lnTo>
                  <a:lnTo>
                    <a:pt x="159" y="296"/>
                  </a:lnTo>
                  <a:lnTo>
                    <a:pt x="131" y="294"/>
                  </a:lnTo>
                  <a:lnTo>
                    <a:pt x="108" y="205"/>
                  </a:lnTo>
                  <a:lnTo>
                    <a:pt x="80" y="204"/>
                  </a:lnTo>
                  <a:lnTo>
                    <a:pt x="52" y="202"/>
                  </a:lnTo>
                  <a:lnTo>
                    <a:pt x="27" y="142"/>
                  </a:lnTo>
                  <a:lnTo>
                    <a:pt x="0" y="112"/>
                  </a:lnTo>
                  <a:lnTo>
                    <a:pt x="28" y="113"/>
                  </a:lnTo>
                  <a:lnTo>
                    <a:pt x="30" y="84"/>
                  </a:lnTo>
                  <a:lnTo>
                    <a:pt x="31" y="55"/>
                  </a:lnTo>
                  <a:lnTo>
                    <a:pt x="61" y="27"/>
                  </a:lnTo>
                  <a:lnTo>
                    <a:pt x="89" y="27"/>
                  </a:lnTo>
                  <a:lnTo>
                    <a:pt x="119" y="0"/>
                  </a:lnTo>
                  <a:lnTo>
                    <a:pt x="147" y="3"/>
                  </a:lnTo>
                  <a:lnTo>
                    <a:pt x="143" y="60"/>
                  </a:lnTo>
                  <a:lnTo>
                    <a:pt x="198" y="92"/>
                  </a:lnTo>
                  <a:lnTo>
                    <a:pt x="195" y="151"/>
                  </a:lnTo>
                  <a:lnTo>
                    <a:pt x="277" y="184"/>
                  </a:lnTo>
                  <a:lnTo>
                    <a:pt x="335" y="158"/>
                  </a:lnTo>
                  <a:lnTo>
                    <a:pt x="330" y="246"/>
                  </a:lnTo>
                  <a:lnTo>
                    <a:pt x="327" y="305"/>
                  </a:lnTo>
                  <a:lnTo>
                    <a:pt x="355" y="306"/>
                  </a:lnTo>
                  <a:lnTo>
                    <a:pt x="325" y="363"/>
                  </a:lnTo>
                </a:path>
              </a:pathLst>
            </a:custGeom>
            <a:solidFill>
              <a:srgbClr val="B2C2D1"/>
            </a:solidFill>
            <a:ln w="9525">
              <a:noFill/>
              <a:round/>
              <a:headEnd/>
              <a:tailEnd/>
            </a:ln>
          </p:spPr>
          <p:txBody>
            <a:bodyPr/>
            <a:lstStyle/>
            <a:p>
              <a:endParaRPr lang="el-GR"/>
            </a:p>
          </p:txBody>
        </p:sp>
        <p:sp>
          <p:nvSpPr>
            <p:cNvPr id="200" name="Freeform 77"/>
            <p:cNvSpPr>
              <a:spLocks/>
            </p:cNvSpPr>
            <p:nvPr/>
          </p:nvSpPr>
          <p:spPr bwMode="auto">
            <a:xfrm>
              <a:off x="3795" y="2644"/>
              <a:ext cx="124" cy="88"/>
            </a:xfrm>
            <a:custGeom>
              <a:avLst/>
              <a:gdLst>
                <a:gd name="T0" fmla="*/ 28 w 519"/>
                <a:gd name="T1" fmla="*/ 9 h 367"/>
                <a:gd name="T2" fmla="*/ 28 w 519"/>
                <a:gd name="T3" fmla="*/ 7 h 367"/>
                <a:gd name="T4" fmla="*/ 30 w 519"/>
                <a:gd name="T5" fmla="*/ 5 h 367"/>
                <a:gd name="T6" fmla="*/ 30 w 519"/>
                <a:gd name="T7" fmla="*/ 4 h 367"/>
                <a:gd name="T8" fmla="*/ 28 w 519"/>
                <a:gd name="T9" fmla="*/ 4 h 367"/>
                <a:gd name="T10" fmla="*/ 27 w 519"/>
                <a:gd name="T11" fmla="*/ 2 h 367"/>
                <a:gd name="T12" fmla="*/ 27 w 519"/>
                <a:gd name="T13" fmla="*/ 0 h 367"/>
                <a:gd name="T14" fmla="*/ 25 w 519"/>
                <a:gd name="T15" fmla="*/ 0 h 367"/>
                <a:gd name="T16" fmla="*/ 23 w 519"/>
                <a:gd name="T17" fmla="*/ 2 h 367"/>
                <a:gd name="T18" fmla="*/ 17 w 519"/>
                <a:gd name="T19" fmla="*/ 3 h 367"/>
                <a:gd name="T20" fmla="*/ 15 w 519"/>
                <a:gd name="T21" fmla="*/ 3 h 367"/>
                <a:gd name="T22" fmla="*/ 12 w 519"/>
                <a:gd name="T23" fmla="*/ 4 h 367"/>
                <a:gd name="T24" fmla="*/ 10 w 519"/>
                <a:gd name="T25" fmla="*/ 6 h 367"/>
                <a:gd name="T26" fmla="*/ 9 w 519"/>
                <a:gd name="T27" fmla="*/ 9 h 367"/>
                <a:gd name="T28" fmla="*/ 7 w 519"/>
                <a:gd name="T29" fmla="*/ 9 h 367"/>
                <a:gd name="T30" fmla="*/ 5 w 519"/>
                <a:gd name="T31" fmla="*/ 13 h 367"/>
                <a:gd name="T32" fmla="*/ 4 w 519"/>
                <a:gd name="T33" fmla="*/ 13 h 367"/>
                <a:gd name="T34" fmla="*/ 0 w 519"/>
                <a:gd name="T35" fmla="*/ 12 h 367"/>
                <a:gd name="T36" fmla="*/ 0 w 519"/>
                <a:gd name="T37" fmla="*/ 18 h 367"/>
                <a:gd name="T38" fmla="*/ 1 w 519"/>
                <a:gd name="T39" fmla="*/ 19 h 367"/>
                <a:gd name="T40" fmla="*/ 1 w 519"/>
                <a:gd name="T41" fmla="*/ 21 h 367"/>
                <a:gd name="T42" fmla="*/ 3 w 519"/>
                <a:gd name="T43" fmla="*/ 21 h 367"/>
                <a:gd name="T44" fmla="*/ 3 w 519"/>
                <a:gd name="T45" fmla="*/ 18 h 367"/>
                <a:gd name="T46" fmla="*/ 5 w 519"/>
                <a:gd name="T47" fmla="*/ 18 h 367"/>
                <a:gd name="T48" fmla="*/ 3 w 519"/>
                <a:gd name="T49" fmla="*/ 16 h 367"/>
                <a:gd name="T50" fmla="*/ 7 w 519"/>
                <a:gd name="T51" fmla="*/ 13 h 367"/>
                <a:gd name="T52" fmla="*/ 8 w 519"/>
                <a:gd name="T53" fmla="*/ 13 h 367"/>
                <a:gd name="T54" fmla="*/ 13 w 519"/>
                <a:gd name="T55" fmla="*/ 15 h 367"/>
                <a:gd name="T56" fmla="*/ 18 w 519"/>
                <a:gd name="T57" fmla="*/ 10 h 367"/>
                <a:gd name="T58" fmla="*/ 20 w 519"/>
                <a:gd name="T59" fmla="*/ 8 h 367"/>
                <a:gd name="T60" fmla="*/ 23 w 519"/>
                <a:gd name="T61" fmla="*/ 8 h 367"/>
                <a:gd name="T62" fmla="*/ 26 w 519"/>
                <a:gd name="T63" fmla="*/ 9 h 367"/>
                <a:gd name="T64" fmla="*/ 28 w 519"/>
                <a:gd name="T65" fmla="*/ 9 h 3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9"/>
                <a:gd name="T100" fmla="*/ 0 h 367"/>
                <a:gd name="T101" fmla="*/ 519 w 519"/>
                <a:gd name="T102" fmla="*/ 367 h 3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9" h="367">
                  <a:moveTo>
                    <a:pt x="487" y="152"/>
                  </a:moveTo>
                  <a:lnTo>
                    <a:pt x="488" y="121"/>
                  </a:lnTo>
                  <a:lnTo>
                    <a:pt x="518" y="93"/>
                  </a:lnTo>
                  <a:lnTo>
                    <a:pt x="519" y="64"/>
                  </a:lnTo>
                  <a:lnTo>
                    <a:pt x="492" y="62"/>
                  </a:lnTo>
                  <a:lnTo>
                    <a:pt x="465" y="32"/>
                  </a:lnTo>
                  <a:lnTo>
                    <a:pt x="467" y="1"/>
                  </a:lnTo>
                  <a:lnTo>
                    <a:pt x="439" y="0"/>
                  </a:lnTo>
                  <a:lnTo>
                    <a:pt x="409" y="28"/>
                  </a:lnTo>
                  <a:lnTo>
                    <a:pt x="295" y="52"/>
                  </a:lnTo>
                  <a:lnTo>
                    <a:pt x="267" y="50"/>
                  </a:lnTo>
                  <a:lnTo>
                    <a:pt x="209" y="77"/>
                  </a:lnTo>
                  <a:lnTo>
                    <a:pt x="180" y="106"/>
                  </a:lnTo>
                  <a:lnTo>
                    <a:pt x="149" y="164"/>
                  </a:lnTo>
                  <a:lnTo>
                    <a:pt x="121" y="161"/>
                  </a:lnTo>
                  <a:lnTo>
                    <a:pt x="89" y="220"/>
                  </a:lnTo>
                  <a:lnTo>
                    <a:pt x="61" y="219"/>
                  </a:lnTo>
                  <a:lnTo>
                    <a:pt x="5" y="216"/>
                  </a:lnTo>
                  <a:lnTo>
                    <a:pt x="0" y="304"/>
                  </a:lnTo>
                  <a:lnTo>
                    <a:pt x="26" y="335"/>
                  </a:lnTo>
                  <a:lnTo>
                    <a:pt x="25" y="365"/>
                  </a:lnTo>
                  <a:lnTo>
                    <a:pt x="53" y="367"/>
                  </a:lnTo>
                  <a:lnTo>
                    <a:pt x="57" y="306"/>
                  </a:lnTo>
                  <a:lnTo>
                    <a:pt x="85" y="309"/>
                  </a:lnTo>
                  <a:lnTo>
                    <a:pt x="58" y="277"/>
                  </a:lnTo>
                  <a:lnTo>
                    <a:pt x="117" y="221"/>
                  </a:lnTo>
                  <a:lnTo>
                    <a:pt x="144" y="222"/>
                  </a:lnTo>
                  <a:lnTo>
                    <a:pt x="228" y="257"/>
                  </a:lnTo>
                  <a:lnTo>
                    <a:pt x="317" y="171"/>
                  </a:lnTo>
                  <a:lnTo>
                    <a:pt x="346" y="144"/>
                  </a:lnTo>
                  <a:lnTo>
                    <a:pt x="402" y="146"/>
                  </a:lnTo>
                  <a:lnTo>
                    <a:pt x="458" y="150"/>
                  </a:lnTo>
                  <a:lnTo>
                    <a:pt x="487" y="152"/>
                  </a:lnTo>
                  <a:close/>
                </a:path>
              </a:pathLst>
            </a:custGeom>
            <a:solidFill>
              <a:srgbClr val="B2C2D1"/>
            </a:solidFill>
            <a:ln w="9525">
              <a:noFill/>
              <a:round/>
              <a:headEnd/>
              <a:tailEnd/>
            </a:ln>
          </p:spPr>
          <p:txBody>
            <a:bodyPr/>
            <a:lstStyle/>
            <a:p>
              <a:endParaRPr lang="el-GR"/>
            </a:p>
          </p:txBody>
        </p:sp>
        <p:sp>
          <p:nvSpPr>
            <p:cNvPr id="201" name="Freeform 78"/>
            <p:cNvSpPr>
              <a:spLocks/>
            </p:cNvSpPr>
            <p:nvPr/>
          </p:nvSpPr>
          <p:spPr bwMode="auto">
            <a:xfrm>
              <a:off x="3795" y="2644"/>
              <a:ext cx="124" cy="88"/>
            </a:xfrm>
            <a:custGeom>
              <a:avLst/>
              <a:gdLst>
                <a:gd name="T0" fmla="*/ 28 w 519"/>
                <a:gd name="T1" fmla="*/ 9 h 367"/>
                <a:gd name="T2" fmla="*/ 28 w 519"/>
                <a:gd name="T3" fmla="*/ 7 h 367"/>
                <a:gd name="T4" fmla="*/ 30 w 519"/>
                <a:gd name="T5" fmla="*/ 5 h 367"/>
                <a:gd name="T6" fmla="*/ 30 w 519"/>
                <a:gd name="T7" fmla="*/ 4 h 367"/>
                <a:gd name="T8" fmla="*/ 28 w 519"/>
                <a:gd name="T9" fmla="*/ 4 h 367"/>
                <a:gd name="T10" fmla="*/ 27 w 519"/>
                <a:gd name="T11" fmla="*/ 2 h 367"/>
                <a:gd name="T12" fmla="*/ 27 w 519"/>
                <a:gd name="T13" fmla="*/ 0 h 367"/>
                <a:gd name="T14" fmla="*/ 25 w 519"/>
                <a:gd name="T15" fmla="*/ 0 h 367"/>
                <a:gd name="T16" fmla="*/ 23 w 519"/>
                <a:gd name="T17" fmla="*/ 2 h 367"/>
                <a:gd name="T18" fmla="*/ 17 w 519"/>
                <a:gd name="T19" fmla="*/ 3 h 367"/>
                <a:gd name="T20" fmla="*/ 15 w 519"/>
                <a:gd name="T21" fmla="*/ 3 h 367"/>
                <a:gd name="T22" fmla="*/ 12 w 519"/>
                <a:gd name="T23" fmla="*/ 4 h 367"/>
                <a:gd name="T24" fmla="*/ 10 w 519"/>
                <a:gd name="T25" fmla="*/ 6 h 367"/>
                <a:gd name="T26" fmla="*/ 9 w 519"/>
                <a:gd name="T27" fmla="*/ 9 h 367"/>
                <a:gd name="T28" fmla="*/ 7 w 519"/>
                <a:gd name="T29" fmla="*/ 9 h 367"/>
                <a:gd name="T30" fmla="*/ 5 w 519"/>
                <a:gd name="T31" fmla="*/ 13 h 367"/>
                <a:gd name="T32" fmla="*/ 4 w 519"/>
                <a:gd name="T33" fmla="*/ 13 h 367"/>
                <a:gd name="T34" fmla="*/ 0 w 519"/>
                <a:gd name="T35" fmla="*/ 12 h 367"/>
                <a:gd name="T36" fmla="*/ 0 w 519"/>
                <a:gd name="T37" fmla="*/ 18 h 367"/>
                <a:gd name="T38" fmla="*/ 1 w 519"/>
                <a:gd name="T39" fmla="*/ 19 h 367"/>
                <a:gd name="T40" fmla="*/ 1 w 519"/>
                <a:gd name="T41" fmla="*/ 21 h 367"/>
                <a:gd name="T42" fmla="*/ 3 w 519"/>
                <a:gd name="T43" fmla="*/ 21 h 367"/>
                <a:gd name="T44" fmla="*/ 3 w 519"/>
                <a:gd name="T45" fmla="*/ 18 h 367"/>
                <a:gd name="T46" fmla="*/ 5 w 519"/>
                <a:gd name="T47" fmla="*/ 18 h 367"/>
                <a:gd name="T48" fmla="*/ 3 w 519"/>
                <a:gd name="T49" fmla="*/ 16 h 367"/>
                <a:gd name="T50" fmla="*/ 7 w 519"/>
                <a:gd name="T51" fmla="*/ 13 h 367"/>
                <a:gd name="T52" fmla="*/ 8 w 519"/>
                <a:gd name="T53" fmla="*/ 13 h 367"/>
                <a:gd name="T54" fmla="*/ 13 w 519"/>
                <a:gd name="T55" fmla="*/ 15 h 367"/>
                <a:gd name="T56" fmla="*/ 18 w 519"/>
                <a:gd name="T57" fmla="*/ 10 h 367"/>
                <a:gd name="T58" fmla="*/ 20 w 519"/>
                <a:gd name="T59" fmla="*/ 8 h 367"/>
                <a:gd name="T60" fmla="*/ 23 w 519"/>
                <a:gd name="T61" fmla="*/ 8 h 367"/>
                <a:gd name="T62" fmla="*/ 26 w 519"/>
                <a:gd name="T63" fmla="*/ 9 h 367"/>
                <a:gd name="T64" fmla="*/ 28 w 519"/>
                <a:gd name="T65" fmla="*/ 9 h 3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19"/>
                <a:gd name="T100" fmla="*/ 0 h 367"/>
                <a:gd name="T101" fmla="*/ 519 w 519"/>
                <a:gd name="T102" fmla="*/ 367 h 3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19" h="367">
                  <a:moveTo>
                    <a:pt x="487" y="152"/>
                  </a:moveTo>
                  <a:lnTo>
                    <a:pt x="488" y="121"/>
                  </a:lnTo>
                  <a:lnTo>
                    <a:pt x="518" y="93"/>
                  </a:lnTo>
                  <a:lnTo>
                    <a:pt x="519" y="64"/>
                  </a:lnTo>
                  <a:lnTo>
                    <a:pt x="492" y="62"/>
                  </a:lnTo>
                  <a:lnTo>
                    <a:pt x="465" y="32"/>
                  </a:lnTo>
                  <a:lnTo>
                    <a:pt x="467" y="1"/>
                  </a:lnTo>
                  <a:lnTo>
                    <a:pt x="439" y="0"/>
                  </a:lnTo>
                  <a:lnTo>
                    <a:pt x="409" y="28"/>
                  </a:lnTo>
                  <a:lnTo>
                    <a:pt x="295" y="52"/>
                  </a:lnTo>
                  <a:lnTo>
                    <a:pt x="267" y="50"/>
                  </a:lnTo>
                  <a:lnTo>
                    <a:pt x="209" y="77"/>
                  </a:lnTo>
                  <a:lnTo>
                    <a:pt x="180" y="106"/>
                  </a:lnTo>
                  <a:lnTo>
                    <a:pt x="149" y="164"/>
                  </a:lnTo>
                  <a:lnTo>
                    <a:pt x="121" y="161"/>
                  </a:lnTo>
                  <a:lnTo>
                    <a:pt x="89" y="220"/>
                  </a:lnTo>
                  <a:lnTo>
                    <a:pt x="61" y="219"/>
                  </a:lnTo>
                  <a:lnTo>
                    <a:pt x="5" y="216"/>
                  </a:lnTo>
                  <a:lnTo>
                    <a:pt x="0" y="304"/>
                  </a:lnTo>
                  <a:lnTo>
                    <a:pt x="26" y="335"/>
                  </a:lnTo>
                  <a:lnTo>
                    <a:pt x="25" y="365"/>
                  </a:lnTo>
                  <a:lnTo>
                    <a:pt x="53" y="367"/>
                  </a:lnTo>
                  <a:lnTo>
                    <a:pt x="57" y="306"/>
                  </a:lnTo>
                  <a:lnTo>
                    <a:pt x="85" y="309"/>
                  </a:lnTo>
                  <a:lnTo>
                    <a:pt x="58" y="277"/>
                  </a:lnTo>
                  <a:lnTo>
                    <a:pt x="117" y="221"/>
                  </a:lnTo>
                  <a:lnTo>
                    <a:pt x="144" y="222"/>
                  </a:lnTo>
                  <a:lnTo>
                    <a:pt x="228" y="257"/>
                  </a:lnTo>
                  <a:lnTo>
                    <a:pt x="317" y="171"/>
                  </a:lnTo>
                  <a:lnTo>
                    <a:pt x="346" y="144"/>
                  </a:lnTo>
                  <a:lnTo>
                    <a:pt x="402" y="146"/>
                  </a:lnTo>
                  <a:lnTo>
                    <a:pt x="458" y="150"/>
                  </a:lnTo>
                  <a:lnTo>
                    <a:pt x="487" y="152"/>
                  </a:lnTo>
                </a:path>
              </a:pathLst>
            </a:custGeom>
            <a:solidFill>
              <a:srgbClr val="B2C2D1"/>
            </a:solidFill>
            <a:ln w="9525">
              <a:noFill/>
              <a:round/>
              <a:headEnd/>
              <a:tailEnd/>
            </a:ln>
          </p:spPr>
          <p:txBody>
            <a:bodyPr/>
            <a:lstStyle/>
            <a:p>
              <a:endParaRPr lang="el-GR"/>
            </a:p>
          </p:txBody>
        </p:sp>
        <p:sp>
          <p:nvSpPr>
            <p:cNvPr id="202" name="Freeform 79"/>
            <p:cNvSpPr>
              <a:spLocks/>
            </p:cNvSpPr>
            <p:nvPr/>
          </p:nvSpPr>
          <p:spPr bwMode="auto">
            <a:xfrm>
              <a:off x="3273" y="2530"/>
              <a:ext cx="64" cy="62"/>
            </a:xfrm>
            <a:custGeom>
              <a:avLst/>
              <a:gdLst>
                <a:gd name="T0" fmla="*/ 10 w 266"/>
                <a:gd name="T1" fmla="*/ 15 h 262"/>
                <a:gd name="T2" fmla="*/ 12 w 266"/>
                <a:gd name="T3" fmla="*/ 13 h 262"/>
                <a:gd name="T4" fmla="*/ 12 w 266"/>
                <a:gd name="T5" fmla="*/ 10 h 262"/>
                <a:gd name="T6" fmla="*/ 13 w 266"/>
                <a:gd name="T7" fmla="*/ 10 h 262"/>
                <a:gd name="T8" fmla="*/ 13 w 266"/>
                <a:gd name="T9" fmla="*/ 8 h 262"/>
                <a:gd name="T10" fmla="*/ 12 w 266"/>
                <a:gd name="T11" fmla="*/ 7 h 262"/>
                <a:gd name="T12" fmla="*/ 13 w 266"/>
                <a:gd name="T13" fmla="*/ 7 h 262"/>
                <a:gd name="T14" fmla="*/ 14 w 266"/>
                <a:gd name="T15" fmla="*/ 3 h 262"/>
                <a:gd name="T16" fmla="*/ 15 w 266"/>
                <a:gd name="T17" fmla="*/ 2 h 262"/>
                <a:gd name="T18" fmla="*/ 12 w 266"/>
                <a:gd name="T19" fmla="*/ 0 h 262"/>
                <a:gd name="T20" fmla="*/ 12 w 266"/>
                <a:gd name="T21" fmla="*/ 2 h 262"/>
                <a:gd name="T22" fmla="*/ 14 w 266"/>
                <a:gd name="T23" fmla="*/ 2 h 262"/>
                <a:gd name="T24" fmla="*/ 14 w 266"/>
                <a:gd name="T25" fmla="*/ 3 h 262"/>
                <a:gd name="T26" fmla="*/ 12 w 266"/>
                <a:gd name="T27" fmla="*/ 3 h 262"/>
                <a:gd name="T28" fmla="*/ 10 w 266"/>
                <a:gd name="T29" fmla="*/ 3 h 262"/>
                <a:gd name="T30" fmla="*/ 9 w 266"/>
                <a:gd name="T31" fmla="*/ 3 h 262"/>
                <a:gd name="T32" fmla="*/ 12 w 266"/>
                <a:gd name="T33" fmla="*/ 2 h 262"/>
                <a:gd name="T34" fmla="*/ 9 w 266"/>
                <a:gd name="T35" fmla="*/ 0 h 262"/>
                <a:gd name="T36" fmla="*/ 9 w 266"/>
                <a:gd name="T37" fmla="*/ 2 h 262"/>
                <a:gd name="T38" fmla="*/ 6 w 266"/>
                <a:gd name="T39" fmla="*/ 1 h 262"/>
                <a:gd name="T40" fmla="*/ 6 w 266"/>
                <a:gd name="T41" fmla="*/ 3 h 262"/>
                <a:gd name="T42" fmla="*/ 4 w 266"/>
                <a:gd name="T43" fmla="*/ 4 h 262"/>
                <a:gd name="T44" fmla="*/ 4 w 266"/>
                <a:gd name="T45" fmla="*/ 6 h 262"/>
                <a:gd name="T46" fmla="*/ 2 w 266"/>
                <a:gd name="T47" fmla="*/ 6 h 262"/>
                <a:gd name="T48" fmla="*/ 2 w 266"/>
                <a:gd name="T49" fmla="*/ 8 h 262"/>
                <a:gd name="T50" fmla="*/ 2 w 266"/>
                <a:gd name="T51" fmla="*/ 9 h 262"/>
                <a:gd name="T52" fmla="*/ 0 w 266"/>
                <a:gd name="T53" fmla="*/ 13 h 262"/>
                <a:gd name="T54" fmla="*/ 2 w 266"/>
                <a:gd name="T55" fmla="*/ 13 h 262"/>
                <a:gd name="T56" fmla="*/ 2 w 266"/>
                <a:gd name="T57" fmla="*/ 14 h 262"/>
                <a:gd name="T58" fmla="*/ 3 w 266"/>
                <a:gd name="T59" fmla="*/ 13 h 262"/>
                <a:gd name="T60" fmla="*/ 6 w 266"/>
                <a:gd name="T61" fmla="*/ 14 h 262"/>
                <a:gd name="T62" fmla="*/ 10 w 266"/>
                <a:gd name="T63" fmla="*/ 15 h 2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6"/>
                <a:gd name="T97" fmla="*/ 0 h 262"/>
                <a:gd name="T98" fmla="*/ 266 w 266"/>
                <a:gd name="T99" fmla="*/ 262 h 2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6" h="262">
                  <a:moveTo>
                    <a:pt x="169" y="262"/>
                  </a:moveTo>
                  <a:lnTo>
                    <a:pt x="199" y="234"/>
                  </a:lnTo>
                  <a:lnTo>
                    <a:pt x="202" y="176"/>
                  </a:lnTo>
                  <a:lnTo>
                    <a:pt x="231" y="178"/>
                  </a:lnTo>
                  <a:lnTo>
                    <a:pt x="232" y="149"/>
                  </a:lnTo>
                  <a:lnTo>
                    <a:pt x="205" y="119"/>
                  </a:lnTo>
                  <a:lnTo>
                    <a:pt x="233" y="121"/>
                  </a:lnTo>
                  <a:lnTo>
                    <a:pt x="237" y="61"/>
                  </a:lnTo>
                  <a:lnTo>
                    <a:pt x="266" y="35"/>
                  </a:lnTo>
                  <a:lnTo>
                    <a:pt x="212" y="3"/>
                  </a:lnTo>
                  <a:lnTo>
                    <a:pt x="209" y="32"/>
                  </a:lnTo>
                  <a:lnTo>
                    <a:pt x="238" y="33"/>
                  </a:lnTo>
                  <a:lnTo>
                    <a:pt x="237" y="61"/>
                  </a:lnTo>
                  <a:lnTo>
                    <a:pt x="208" y="61"/>
                  </a:lnTo>
                  <a:lnTo>
                    <a:pt x="179" y="59"/>
                  </a:lnTo>
                  <a:lnTo>
                    <a:pt x="151" y="58"/>
                  </a:lnTo>
                  <a:lnTo>
                    <a:pt x="209" y="32"/>
                  </a:lnTo>
                  <a:lnTo>
                    <a:pt x="154" y="0"/>
                  </a:lnTo>
                  <a:lnTo>
                    <a:pt x="153" y="29"/>
                  </a:lnTo>
                  <a:lnTo>
                    <a:pt x="97" y="26"/>
                  </a:lnTo>
                  <a:lnTo>
                    <a:pt x="96" y="55"/>
                  </a:lnTo>
                  <a:lnTo>
                    <a:pt x="65" y="82"/>
                  </a:lnTo>
                  <a:lnTo>
                    <a:pt x="63" y="111"/>
                  </a:lnTo>
                  <a:lnTo>
                    <a:pt x="35" y="110"/>
                  </a:lnTo>
                  <a:lnTo>
                    <a:pt x="34" y="138"/>
                  </a:lnTo>
                  <a:lnTo>
                    <a:pt x="32" y="167"/>
                  </a:lnTo>
                  <a:lnTo>
                    <a:pt x="0" y="224"/>
                  </a:lnTo>
                  <a:lnTo>
                    <a:pt x="29" y="226"/>
                  </a:lnTo>
                  <a:lnTo>
                    <a:pt x="29" y="255"/>
                  </a:lnTo>
                  <a:lnTo>
                    <a:pt x="57" y="227"/>
                  </a:lnTo>
                  <a:lnTo>
                    <a:pt x="112" y="258"/>
                  </a:lnTo>
                  <a:lnTo>
                    <a:pt x="169" y="262"/>
                  </a:lnTo>
                  <a:close/>
                </a:path>
              </a:pathLst>
            </a:custGeom>
            <a:solidFill>
              <a:srgbClr val="B2C2D1"/>
            </a:solidFill>
            <a:ln w="9525">
              <a:noFill/>
              <a:round/>
              <a:headEnd/>
              <a:tailEnd/>
            </a:ln>
          </p:spPr>
          <p:txBody>
            <a:bodyPr/>
            <a:lstStyle/>
            <a:p>
              <a:endParaRPr lang="el-GR"/>
            </a:p>
          </p:txBody>
        </p:sp>
        <p:sp>
          <p:nvSpPr>
            <p:cNvPr id="203" name="Freeform 80"/>
            <p:cNvSpPr>
              <a:spLocks/>
            </p:cNvSpPr>
            <p:nvPr/>
          </p:nvSpPr>
          <p:spPr bwMode="auto">
            <a:xfrm>
              <a:off x="3273" y="2530"/>
              <a:ext cx="64" cy="62"/>
            </a:xfrm>
            <a:custGeom>
              <a:avLst/>
              <a:gdLst>
                <a:gd name="T0" fmla="*/ 10 w 266"/>
                <a:gd name="T1" fmla="*/ 15 h 262"/>
                <a:gd name="T2" fmla="*/ 12 w 266"/>
                <a:gd name="T3" fmla="*/ 13 h 262"/>
                <a:gd name="T4" fmla="*/ 12 w 266"/>
                <a:gd name="T5" fmla="*/ 10 h 262"/>
                <a:gd name="T6" fmla="*/ 13 w 266"/>
                <a:gd name="T7" fmla="*/ 10 h 262"/>
                <a:gd name="T8" fmla="*/ 13 w 266"/>
                <a:gd name="T9" fmla="*/ 8 h 262"/>
                <a:gd name="T10" fmla="*/ 12 w 266"/>
                <a:gd name="T11" fmla="*/ 7 h 262"/>
                <a:gd name="T12" fmla="*/ 13 w 266"/>
                <a:gd name="T13" fmla="*/ 7 h 262"/>
                <a:gd name="T14" fmla="*/ 14 w 266"/>
                <a:gd name="T15" fmla="*/ 3 h 262"/>
                <a:gd name="T16" fmla="*/ 15 w 266"/>
                <a:gd name="T17" fmla="*/ 2 h 262"/>
                <a:gd name="T18" fmla="*/ 12 w 266"/>
                <a:gd name="T19" fmla="*/ 0 h 262"/>
                <a:gd name="T20" fmla="*/ 12 w 266"/>
                <a:gd name="T21" fmla="*/ 2 h 262"/>
                <a:gd name="T22" fmla="*/ 14 w 266"/>
                <a:gd name="T23" fmla="*/ 2 h 262"/>
                <a:gd name="T24" fmla="*/ 14 w 266"/>
                <a:gd name="T25" fmla="*/ 3 h 262"/>
                <a:gd name="T26" fmla="*/ 12 w 266"/>
                <a:gd name="T27" fmla="*/ 3 h 262"/>
                <a:gd name="T28" fmla="*/ 10 w 266"/>
                <a:gd name="T29" fmla="*/ 3 h 262"/>
                <a:gd name="T30" fmla="*/ 9 w 266"/>
                <a:gd name="T31" fmla="*/ 3 h 262"/>
                <a:gd name="T32" fmla="*/ 12 w 266"/>
                <a:gd name="T33" fmla="*/ 2 h 262"/>
                <a:gd name="T34" fmla="*/ 9 w 266"/>
                <a:gd name="T35" fmla="*/ 0 h 262"/>
                <a:gd name="T36" fmla="*/ 9 w 266"/>
                <a:gd name="T37" fmla="*/ 2 h 262"/>
                <a:gd name="T38" fmla="*/ 6 w 266"/>
                <a:gd name="T39" fmla="*/ 1 h 262"/>
                <a:gd name="T40" fmla="*/ 6 w 266"/>
                <a:gd name="T41" fmla="*/ 3 h 262"/>
                <a:gd name="T42" fmla="*/ 4 w 266"/>
                <a:gd name="T43" fmla="*/ 4 h 262"/>
                <a:gd name="T44" fmla="*/ 4 w 266"/>
                <a:gd name="T45" fmla="*/ 6 h 262"/>
                <a:gd name="T46" fmla="*/ 2 w 266"/>
                <a:gd name="T47" fmla="*/ 6 h 262"/>
                <a:gd name="T48" fmla="*/ 2 w 266"/>
                <a:gd name="T49" fmla="*/ 8 h 262"/>
                <a:gd name="T50" fmla="*/ 2 w 266"/>
                <a:gd name="T51" fmla="*/ 9 h 262"/>
                <a:gd name="T52" fmla="*/ 0 w 266"/>
                <a:gd name="T53" fmla="*/ 13 h 262"/>
                <a:gd name="T54" fmla="*/ 2 w 266"/>
                <a:gd name="T55" fmla="*/ 13 h 262"/>
                <a:gd name="T56" fmla="*/ 2 w 266"/>
                <a:gd name="T57" fmla="*/ 14 h 262"/>
                <a:gd name="T58" fmla="*/ 3 w 266"/>
                <a:gd name="T59" fmla="*/ 13 h 262"/>
                <a:gd name="T60" fmla="*/ 6 w 266"/>
                <a:gd name="T61" fmla="*/ 14 h 262"/>
                <a:gd name="T62" fmla="*/ 10 w 266"/>
                <a:gd name="T63" fmla="*/ 15 h 26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66"/>
                <a:gd name="T97" fmla="*/ 0 h 262"/>
                <a:gd name="T98" fmla="*/ 266 w 266"/>
                <a:gd name="T99" fmla="*/ 262 h 26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66" h="262">
                  <a:moveTo>
                    <a:pt x="169" y="262"/>
                  </a:moveTo>
                  <a:lnTo>
                    <a:pt x="199" y="234"/>
                  </a:lnTo>
                  <a:lnTo>
                    <a:pt x="202" y="176"/>
                  </a:lnTo>
                  <a:lnTo>
                    <a:pt x="231" y="178"/>
                  </a:lnTo>
                  <a:lnTo>
                    <a:pt x="232" y="149"/>
                  </a:lnTo>
                  <a:lnTo>
                    <a:pt x="205" y="119"/>
                  </a:lnTo>
                  <a:lnTo>
                    <a:pt x="233" y="121"/>
                  </a:lnTo>
                  <a:lnTo>
                    <a:pt x="237" y="61"/>
                  </a:lnTo>
                  <a:lnTo>
                    <a:pt x="266" y="35"/>
                  </a:lnTo>
                  <a:lnTo>
                    <a:pt x="212" y="3"/>
                  </a:lnTo>
                  <a:lnTo>
                    <a:pt x="209" y="32"/>
                  </a:lnTo>
                  <a:lnTo>
                    <a:pt x="238" y="33"/>
                  </a:lnTo>
                  <a:lnTo>
                    <a:pt x="237" y="61"/>
                  </a:lnTo>
                  <a:lnTo>
                    <a:pt x="208" y="61"/>
                  </a:lnTo>
                  <a:lnTo>
                    <a:pt x="179" y="59"/>
                  </a:lnTo>
                  <a:lnTo>
                    <a:pt x="151" y="58"/>
                  </a:lnTo>
                  <a:lnTo>
                    <a:pt x="209" y="32"/>
                  </a:lnTo>
                  <a:lnTo>
                    <a:pt x="154" y="0"/>
                  </a:lnTo>
                  <a:lnTo>
                    <a:pt x="153" y="29"/>
                  </a:lnTo>
                  <a:lnTo>
                    <a:pt x="97" y="26"/>
                  </a:lnTo>
                  <a:lnTo>
                    <a:pt x="96" y="55"/>
                  </a:lnTo>
                  <a:lnTo>
                    <a:pt x="65" y="82"/>
                  </a:lnTo>
                  <a:lnTo>
                    <a:pt x="63" y="111"/>
                  </a:lnTo>
                  <a:lnTo>
                    <a:pt x="35" y="110"/>
                  </a:lnTo>
                  <a:lnTo>
                    <a:pt x="34" y="138"/>
                  </a:lnTo>
                  <a:lnTo>
                    <a:pt x="32" y="167"/>
                  </a:lnTo>
                  <a:lnTo>
                    <a:pt x="0" y="224"/>
                  </a:lnTo>
                  <a:lnTo>
                    <a:pt x="29" y="226"/>
                  </a:lnTo>
                  <a:lnTo>
                    <a:pt x="29" y="255"/>
                  </a:lnTo>
                  <a:lnTo>
                    <a:pt x="57" y="227"/>
                  </a:lnTo>
                  <a:lnTo>
                    <a:pt x="112" y="258"/>
                  </a:lnTo>
                  <a:lnTo>
                    <a:pt x="169" y="262"/>
                  </a:lnTo>
                </a:path>
              </a:pathLst>
            </a:custGeom>
            <a:solidFill>
              <a:srgbClr val="B2C2D1"/>
            </a:solidFill>
            <a:ln w="9525">
              <a:noFill/>
              <a:round/>
              <a:headEnd/>
              <a:tailEnd/>
            </a:ln>
          </p:spPr>
          <p:txBody>
            <a:bodyPr/>
            <a:lstStyle/>
            <a:p>
              <a:endParaRPr lang="el-GR"/>
            </a:p>
          </p:txBody>
        </p:sp>
        <p:sp>
          <p:nvSpPr>
            <p:cNvPr id="204" name="Freeform 81"/>
            <p:cNvSpPr>
              <a:spLocks/>
            </p:cNvSpPr>
            <p:nvPr/>
          </p:nvSpPr>
          <p:spPr bwMode="auto">
            <a:xfrm>
              <a:off x="3053" y="2657"/>
              <a:ext cx="63" cy="47"/>
            </a:xfrm>
            <a:custGeom>
              <a:avLst/>
              <a:gdLst>
                <a:gd name="T0" fmla="*/ 6 w 264"/>
                <a:gd name="T1" fmla="*/ 10 h 200"/>
                <a:gd name="T2" fmla="*/ 8 w 264"/>
                <a:gd name="T3" fmla="*/ 8 h 200"/>
                <a:gd name="T4" fmla="*/ 10 w 264"/>
                <a:gd name="T5" fmla="*/ 10 h 200"/>
                <a:gd name="T6" fmla="*/ 13 w 264"/>
                <a:gd name="T7" fmla="*/ 8 h 200"/>
                <a:gd name="T8" fmla="*/ 15 w 264"/>
                <a:gd name="T9" fmla="*/ 7 h 200"/>
                <a:gd name="T10" fmla="*/ 15 w 264"/>
                <a:gd name="T11" fmla="*/ 5 h 200"/>
                <a:gd name="T12" fmla="*/ 15 w 264"/>
                <a:gd name="T13" fmla="*/ 2 h 200"/>
                <a:gd name="T14" fmla="*/ 14 w 264"/>
                <a:gd name="T15" fmla="*/ 0 h 200"/>
                <a:gd name="T16" fmla="*/ 12 w 264"/>
                <a:gd name="T17" fmla="*/ 2 h 200"/>
                <a:gd name="T18" fmla="*/ 9 w 264"/>
                <a:gd name="T19" fmla="*/ 2 h 200"/>
                <a:gd name="T20" fmla="*/ 7 w 264"/>
                <a:gd name="T21" fmla="*/ 2 h 200"/>
                <a:gd name="T22" fmla="*/ 7 w 264"/>
                <a:gd name="T23" fmla="*/ 0 h 200"/>
                <a:gd name="T24" fmla="*/ 7 w 264"/>
                <a:gd name="T25" fmla="*/ 2 h 200"/>
                <a:gd name="T26" fmla="*/ 8 w 264"/>
                <a:gd name="T27" fmla="*/ 5 h 200"/>
                <a:gd name="T28" fmla="*/ 10 w 264"/>
                <a:gd name="T29" fmla="*/ 5 h 200"/>
                <a:gd name="T30" fmla="*/ 10 w 264"/>
                <a:gd name="T31" fmla="*/ 7 h 200"/>
                <a:gd name="T32" fmla="*/ 8 w 264"/>
                <a:gd name="T33" fmla="*/ 7 h 200"/>
                <a:gd name="T34" fmla="*/ 7 w 264"/>
                <a:gd name="T35" fmla="*/ 7 h 200"/>
                <a:gd name="T36" fmla="*/ 5 w 264"/>
                <a:gd name="T37" fmla="*/ 5 h 200"/>
                <a:gd name="T38" fmla="*/ 5 w 264"/>
                <a:gd name="T39" fmla="*/ 3 h 200"/>
                <a:gd name="T40" fmla="*/ 2 w 264"/>
                <a:gd name="T41" fmla="*/ 1 h 200"/>
                <a:gd name="T42" fmla="*/ 2 w 264"/>
                <a:gd name="T43" fmla="*/ 3 h 200"/>
                <a:gd name="T44" fmla="*/ 2 w 264"/>
                <a:gd name="T45" fmla="*/ 5 h 200"/>
                <a:gd name="T46" fmla="*/ 0 w 264"/>
                <a:gd name="T47" fmla="*/ 4 h 200"/>
                <a:gd name="T48" fmla="*/ 0 w 264"/>
                <a:gd name="T49" fmla="*/ 6 h 200"/>
                <a:gd name="T50" fmla="*/ 0 w 264"/>
                <a:gd name="T51" fmla="*/ 8 h 200"/>
                <a:gd name="T52" fmla="*/ 0 w 264"/>
                <a:gd name="T53" fmla="*/ 9 h 200"/>
                <a:gd name="T54" fmla="*/ 0 w 264"/>
                <a:gd name="T55" fmla="*/ 11 h 200"/>
                <a:gd name="T56" fmla="*/ 3 w 264"/>
                <a:gd name="T57" fmla="*/ 10 h 200"/>
                <a:gd name="T58" fmla="*/ 6 w 264"/>
                <a:gd name="T59" fmla="*/ 10 h 20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4"/>
                <a:gd name="T91" fmla="*/ 0 h 200"/>
                <a:gd name="T92" fmla="*/ 264 w 264"/>
                <a:gd name="T93" fmla="*/ 200 h 20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4" h="200">
                  <a:moveTo>
                    <a:pt x="115" y="177"/>
                  </a:moveTo>
                  <a:lnTo>
                    <a:pt x="145" y="149"/>
                  </a:lnTo>
                  <a:lnTo>
                    <a:pt x="171" y="180"/>
                  </a:lnTo>
                  <a:lnTo>
                    <a:pt x="229" y="154"/>
                  </a:lnTo>
                  <a:lnTo>
                    <a:pt x="260" y="125"/>
                  </a:lnTo>
                  <a:lnTo>
                    <a:pt x="261" y="95"/>
                  </a:lnTo>
                  <a:lnTo>
                    <a:pt x="264" y="37"/>
                  </a:lnTo>
                  <a:lnTo>
                    <a:pt x="237" y="6"/>
                  </a:lnTo>
                  <a:lnTo>
                    <a:pt x="207" y="34"/>
                  </a:lnTo>
                  <a:lnTo>
                    <a:pt x="150" y="31"/>
                  </a:lnTo>
                  <a:lnTo>
                    <a:pt x="122" y="29"/>
                  </a:lnTo>
                  <a:lnTo>
                    <a:pt x="124" y="0"/>
                  </a:lnTo>
                  <a:lnTo>
                    <a:pt x="122" y="29"/>
                  </a:lnTo>
                  <a:lnTo>
                    <a:pt x="147" y="90"/>
                  </a:lnTo>
                  <a:lnTo>
                    <a:pt x="175" y="91"/>
                  </a:lnTo>
                  <a:lnTo>
                    <a:pt x="174" y="120"/>
                  </a:lnTo>
                  <a:lnTo>
                    <a:pt x="146" y="119"/>
                  </a:lnTo>
                  <a:lnTo>
                    <a:pt x="118" y="118"/>
                  </a:lnTo>
                  <a:lnTo>
                    <a:pt x="91" y="87"/>
                  </a:lnTo>
                  <a:lnTo>
                    <a:pt x="92" y="58"/>
                  </a:lnTo>
                  <a:lnTo>
                    <a:pt x="38" y="25"/>
                  </a:lnTo>
                  <a:lnTo>
                    <a:pt x="36" y="54"/>
                  </a:lnTo>
                  <a:lnTo>
                    <a:pt x="34" y="84"/>
                  </a:lnTo>
                  <a:lnTo>
                    <a:pt x="6" y="82"/>
                  </a:lnTo>
                  <a:lnTo>
                    <a:pt x="4" y="112"/>
                  </a:lnTo>
                  <a:lnTo>
                    <a:pt x="3" y="142"/>
                  </a:lnTo>
                  <a:lnTo>
                    <a:pt x="1" y="171"/>
                  </a:lnTo>
                  <a:lnTo>
                    <a:pt x="0" y="200"/>
                  </a:lnTo>
                  <a:lnTo>
                    <a:pt x="57" y="173"/>
                  </a:lnTo>
                  <a:lnTo>
                    <a:pt x="115" y="177"/>
                  </a:lnTo>
                  <a:close/>
                </a:path>
              </a:pathLst>
            </a:custGeom>
            <a:solidFill>
              <a:srgbClr val="B2C2D1"/>
            </a:solidFill>
            <a:ln w="9525">
              <a:noFill/>
              <a:round/>
              <a:headEnd/>
              <a:tailEnd/>
            </a:ln>
          </p:spPr>
          <p:txBody>
            <a:bodyPr/>
            <a:lstStyle/>
            <a:p>
              <a:endParaRPr lang="el-GR"/>
            </a:p>
          </p:txBody>
        </p:sp>
        <p:sp>
          <p:nvSpPr>
            <p:cNvPr id="205" name="Freeform 82"/>
            <p:cNvSpPr>
              <a:spLocks/>
            </p:cNvSpPr>
            <p:nvPr/>
          </p:nvSpPr>
          <p:spPr bwMode="auto">
            <a:xfrm>
              <a:off x="3053" y="2657"/>
              <a:ext cx="63" cy="47"/>
            </a:xfrm>
            <a:custGeom>
              <a:avLst/>
              <a:gdLst>
                <a:gd name="T0" fmla="*/ 6 w 264"/>
                <a:gd name="T1" fmla="*/ 10 h 200"/>
                <a:gd name="T2" fmla="*/ 8 w 264"/>
                <a:gd name="T3" fmla="*/ 8 h 200"/>
                <a:gd name="T4" fmla="*/ 10 w 264"/>
                <a:gd name="T5" fmla="*/ 10 h 200"/>
                <a:gd name="T6" fmla="*/ 13 w 264"/>
                <a:gd name="T7" fmla="*/ 8 h 200"/>
                <a:gd name="T8" fmla="*/ 15 w 264"/>
                <a:gd name="T9" fmla="*/ 7 h 200"/>
                <a:gd name="T10" fmla="*/ 15 w 264"/>
                <a:gd name="T11" fmla="*/ 5 h 200"/>
                <a:gd name="T12" fmla="*/ 15 w 264"/>
                <a:gd name="T13" fmla="*/ 2 h 200"/>
                <a:gd name="T14" fmla="*/ 14 w 264"/>
                <a:gd name="T15" fmla="*/ 0 h 200"/>
                <a:gd name="T16" fmla="*/ 12 w 264"/>
                <a:gd name="T17" fmla="*/ 2 h 200"/>
                <a:gd name="T18" fmla="*/ 9 w 264"/>
                <a:gd name="T19" fmla="*/ 2 h 200"/>
                <a:gd name="T20" fmla="*/ 7 w 264"/>
                <a:gd name="T21" fmla="*/ 2 h 200"/>
                <a:gd name="T22" fmla="*/ 7 w 264"/>
                <a:gd name="T23" fmla="*/ 0 h 200"/>
                <a:gd name="T24" fmla="*/ 7 w 264"/>
                <a:gd name="T25" fmla="*/ 2 h 200"/>
                <a:gd name="T26" fmla="*/ 8 w 264"/>
                <a:gd name="T27" fmla="*/ 5 h 200"/>
                <a:gd name="T28" fmla="*/ 10 w 264"/>
                <a:gd name="T29" fmla="*/ 5 h 200"/>
                <a:gd name="T30" fmla="*/ 10 w 264"/>
                <a:gd name="T31" fmla="*/ 7 h 200"/>
                <a:gd name="T32" fmla="*/ 8 w 264"/>
                <a:gd name="T33" fmla="*/ 7 h 200"/>
                <a:gd name="T34" fmla="*/ 7 w 264"/>
                <a:gd name="T35" fmla="*/ 7 h 200"/>
                <a:gd name="T36" fmla="*/ 5 w 264"/>
                <a:gd name="T37" fmla="*/ 5 h 200"/>
                <a:gd name="T38" fmla="*/ 5 w 264"/>
                <a:gd name="T39" fmla="*/ 3 h 200"/>
                <a:gd name="T40" fmla="*/ 2 w 264"/>
                <a:gd name="T41" fmla="*/ 1 h 200"/>
                <a:gd name="T42" fmla="*/ 2 w 264"/>
                <a:gd name="T43" fmla="*/ 3 h 200"/>
                <a:gd name="T44" fmla="*/ 2 w 264"/>
                <a:gd name="T45" fmla="*/ 5 h 200"/>
                <a:gd name="T46" fmla="*/ 0 w 264"/>
                <a:gd name="T47" fmla="*/ 4 h 200"/>
                <a:gd name="T48" fmla="*/ 0 w 264"/>
                <a:gd name="T49" fmla="*/ 6 h 200"/>
                <a:gd name="T50" fmla="*/ 0 w 264"/>
                <a:gd name="T51" fmla="*/ 8 h 200"/>
                <a:gd name="T52" fmla="*/ 0 w 264"/>
                <a:gd name="T53" fmla="*/ 9 h 200"/>
                <a:gd name="T54" fmla="*/ 0 w 264"/>
                <a:gd name="T55" fmla="*/ 11 h 200"/>
                <a:gd name="T56" fmla="*/ 3 w 264"/>
                <a:gd name="T57" fmla="*/ 10 h 200"/>
                <a:gd name="T58" fmla="*/ 6 w 264"/>
                <a:gd name="T59" fmla="*/ 10 h 20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64"/>
                <a:gd name="T91" fmla="*/ 0 h 200"/>
                <a:gd name="T92" fmla="*/ 264 w 264"/>
                <a:gd name="T93" fmla="*/ 200 h 20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64" h="200">
                  <a:moveTo>
                    <a:pt x="115" y="177"/>
                  </a:moveTo>
                  <a:lnTo>
                    <a:pt x="145" y="149"/>
                  </a:lnTo>
                  <a:lnTo>
                    <a:pt x="171" y="180"/>
                  </a:lnTo>
                  <a:lnTo>
                    <a:pt x="229" y="154"/>
                  </a:lnTo>
                  <a:lnTo>
                    <a:pt x="260" y="125"/>
                  </a:lnTo>
                  <a:lnTo>
                    <a:pt x="261" y="95"/>
                  </a:lnTo>
                  <a:lnTo>
                    <a:pt x="264" y="37"/>
                  </a:lnTo>
                  <a:lnTo>
                    <a:pt x="237" y="6"/>
                  </a:lnTo>
                  <a:lnTo>
                    <a:pt x="207" y="34"/>
                  </a:lnTo>
                  <a:lnTo>
                    <a:pt x="150" y="31"/>
                  </a:lnTo>
                  <a:lnTo>
                    <a:pt x="122" y="29"/>
                  </a:lnTo>
                  <a:lnTo>
                    <a:pt x="124" y="0"/>
                  </a:lnTo>
                  <a:lnTo>
                    <a:pt x="122" y="29"/>
                  </a:lnTo>
                  <a:lnTo>
                    <a:pt x="147" y="90"/>
                  </a:lnTo>
                  <a:lnTo>
                    <a:pt x="175" y="91"/>
                  </a:lnTo>
                  <a:lnTo>
                    <a:pt x="174" y="120"/>
                  </a:lnTo>
                  <a:lnTo>
                    <a:pt x="146" y="119"/>
                  </a:lnTo>
                  <a:lnTo>
                    <a:pt x="118" y="118"/>
                  </a:lnTo>
                  <a:lnTo>
                    <a:pt x="91" y="87"/>
                  </a:lnTo>
                  <a:lnTo>
                    <a:pt x="92" y="58"/>
                  </a:lnTo>
                  <a:lnTo>
                    <a:pt x="38" y="25"/>
                  </a:lnTo>
                  <a:lnTo>
                    <a:pt x="36" y="54"/>
                  </a:lnTo>
                  <a:lnTo>
                    <a:pt x="34" y="84"/>
                  </a:lnTo>
                  <a:lnTo>
                    <a:pt x="6" y="82"/>
                  </a:lnTo>
                  <a:lnTo>
                    <a:pt x="4" y="112"/>
                  </a:lnTo>
                  <a:lnTo>
                    <a:pt x="3" y="142"/>
                  </a:lnTo>
                  <a:lnTo>
                    <a:pt x="1" y="171"/>
                  </a:lnTo>
                  <a:lnTo>
                    <a:pt x="0" y="200"/>
                  </a:lnTo>
                  <a:lnTo>
                    <a:pt x="57" y="173"/>
                  </a:lnTo>
                  <a:lnTo>
                    <a:pt x="115" y="177"/>
                  </a:lnTo>
                </a:path>
              </a:pathLst>
            </a:custGeom>
            <a:solidFill>
              <a:srgbClr val="B2C2D1"/>
            </a:solidFill>
            <a:ln w="9525">
              <a:noFill/>
              <a:round/>
              <a:headEnd/>
              <a:tailEnd/>
            </a:ln>
          </p:spPr>
          <p:txBody>
            <a:bodyPr/>
            <a:lstStyle/>
            <a:p>
              <a:endParaRPr lang="el-GR"/>
            </a:p>
          </p:txBody>
        </p:sp>
        <p:sp>
          <p:nvSpPr>
            <p:cNvPr id="206" name="Freeform 83"/>
            <p:cNvSpPr>
              <a:spLocks/>
            </p:cNvSpPr>
            <p:nvPr/>
          </p:nvSpPr>
          <p:spPr bwMode="auto">
            <a:xfrm>
              <a:off x="3038" y="2314"/>
              <a:ext cx="48" cy="62"/>
            </a:xfrm>
            <a:custGeom>
              <a:avLst/>
              <a:gdLst>
                <a:gd name="T0" fmla="*/ 7 w 201"/>
                <a:gd name="T1" fmla="*/ 0 h 258"/>
                <a:gd name="T2" fmla="*/ 8 w 201"/>
                <a:gd name="T3" fmla="*/ 0 h 258"/>
                <a:gd name="T4" fmla="*/ 10 w 201"/>
                <a:gd name="T5" fmla="*/ 2 h 258"/>
                <a:gd name="T6" fmla="*/ 10 w 201"/>
                <a:gd name="T7" fmla="*/ 4 h 258"/>
                <a:gd name="T8" fmla="*/ 11 w 201"/>
                <a:gd name="T9" fmla="*/ 4 h 258"/>
                <a:gd name="T10" fmla="*/ 10 w 201"/>
                <a:gd name="T11" fmla="*/ 4 h 258"/>
                <a:gd name="T12" fmla="*/ 10 w 201"/>
                <a:gd name="T13" fmla="*/ 5 h 258"/>
                <a:gd name="T14" fmla="*/ 10 w 201"/>
                <a:gd name="T15" fmla="*/ 7 h 258"/>
                <a:gd name="T16" fmla="*/ 8 w 201"/>
                <a:gd name="T17" fmla="*/ 8 h 258"/>
                <a:gd name="T18" fmla="*/ 6 w 201"/>
                <a:gd name="T19" fmla="*/ 10 h 258"/>
                <a:gd name="T20" fmla="*/ 5 w 201"/>
                <a:gd name="T21" fmla="*/ 12 h 258"/>
                <a:gd name="T22" fmla="*/ 3 w 201"/>
                <a:gd name="T23" fmla="*/ 15 h 258"/>
                <a:gd name="T24" fmla="*/ 1 w 201"/>
                <a:gd name="T25" fmla="*/ 15 h 258"/>
                <a:gd name="T26" fmla="*/ 1 w 201"/>
                <a:gd name="T27" fmla="*/ 12 h 258"/>
                <a:gd name="T28" fmla="*/ 1 w 201"/>
                <a:gd name="T29" fmla="*/ 10 h 258"/>
                <a:gd name="T30" fmla="*/ 0 w 201"/>
                <a:gd name="T31" fmla="*/ 8 h 258"/>
                <a:gd name="T32" fmla="*/ 2 w 201"/>
                <a:gd name="T33" fmla="*/ 8 h 258"/>
                <a:gd name="T34" fmla="*/ 0 w 201"/>
                <a:gd name="T35" fmla="*/ 6 h 258"/>
                <a:gd name="T36" fmla="*/ 2 w 201"/>
                <a:gd name="T37" fmla="*/ 5 h 258"/>
                <a:gd name="T38" fmla="*/ 2 w 201"/>
                <a:gd name="T39" fmla="*/ 3 h 258"/>
                <a:gd name="T40" fmla="*/ 3 w 201"/>
                <a:gd name="T41" fmla="*/ 3 h 258"/>
                <a:gd name="T42" fmla="*/ 4 w 201"/>
                <a:gd name="T43" fmla="*/ 1 h 258"/>
                <a:gd name="T44" fmla="*/ 5 w 201"/>
                <a:gd name="T45" fmla="*/ 0 h 258"/>
                <a:gd name="T46" fmla="*/ 7 w 201"/>
                <a:gd name="T47" fmla="*/ 0 h 25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1"/>
                <a:gd name="T73" fmla="*/ 0 h 258"/>
                <a:gd name="T74" fmla="*/ 201 w 201"/>
                <a:gd name="T75" fmla="*/ 258 h 25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1" h="258">
                  <a:moveTo>
                    <a:pt x="120" y="1"/>
                  </a:moveTo>
                  <a:lnTo>
                    <a:pt x="148" y="3"/>
                  </a:lnTo>
                  <a:lnTo>
                    <a:pt x="175" y="33"/>
                  </a:lnTo>
                  <a:lnTo>
                    <a:pt x="173" y="61"/>
                  </a:lnTo>
                  <a:lnTo>
                    <a:pt x="201" y="64"/>
                  </a:lnTo>
                  <a:lnTo>
                    <a:pt x="173" y="61"/>
                  </a:lnTo>
                  <a:lnTo>
                    <a:pt x="172" y="91"/>
                  </a:lnTo>
                  <a:lnTo>
                    <a:pt x="171" y="120"/>
                  </a:lnTo>
                  <a:lnTo>
                    <a:pt x="141" y="147"/>
                  </a:lnTo>
                  <a:lnTo>
                    <a:pt x="111" y="174"/>
                  </a:lnTo>
                  <a:lnTo>
                    <a:pt x="81" y="202"/>
                  </a:lnTo>
                  <a:lnTo>
                    <a:pt x="51" y="258"/>
                  </a:lnTo>
                  <a:lnTo>
                    <a:pt x="23" y="257"/>
                  </a:lnTo>
                  <a:lnTo>
                    <a:pt x="26" y="199"/>
                  </a:lnTo>
                  <a:lnTo>
                    <a:pt x="27" y="171"/>
                  </a:lnTo>
                  <a:lnTo>
                    <a:pt x="0" y="139"/>
                  </a:lnTo>
                  <a:lnTo>
                    <a:pt x="28" y="141"/>
                  </a:lnTo>
                  <a:lnTo>
                    <a:pt x="2" y="111"/>
                  </a:lnTo>
                  <a:lnTo>
                    <a:pt x="31" y="83"/>
                  </a:lnTo>
                  <a:lnTo>
                    <a:pt x="33" y="55"/>
                  </a:lnTo>
                  <a:lnTo>
                    <a:pt x="60" y="56"/>
                  </a:lnTo>
                  <a:lnTo>
                    <a:pt x="63" y="27"/>
                  </a:lnTo>
                  <a:lnTo>
                    <a:pt x="92" y="0"/>
                  </a:lnTo>
                  <a:lnTo>
                    <a:pt x="120" y="1"/>
                  </a:lnTo>
                  <a:close/>
                </a:path>
              </a:pathLst>
            </a:custGeom>
            <a:solidFill>
              <a:srgbClr val="B2C2D1"/>
            </a:solidFill>
            <a:ln w="9525">
              <a:noFill/>
              <a:round/>
              <a:headEnd/>
              <a:tailEnd/>
            </a:ln>
          </p:spPr>
          <p:txBody>
            <a:bodyPr/>
            <a:lstStyle/>
            <a:p>
              <a:endParaRPr lang="el-GR"/>
            </a:p>
          </p:txBody>
        </p:sp>
        <p:sp>
          <p:nvSpPr>
            <p:cNvPr id="207" name="Freeform 84"/>
            <p:cNvSpPr>
              <a:spLocks/>
            </p:cNvSpPr>
            <p:nvPr/>
          </p:nvSpPr>
          <p:spPr bwMode="auto">
            <a:xfrm>
              <a:off x="3038" y="2314"/>
              <a:ext cx="48" cy="62"/>
            </a:xfrm>
            <a:custGeom>
              <a:avLst/>
              <a:gdLst>
                <a:gd name="T0" fmla="*/ 7 w 201"/>
                <a:gd name="T1" fmla="*/ 0 h 258"/>
                <a:gd name="T2" fmla="*/ 8 w 201"/>
                <a:gd name="T3" fmla="*/ 0 h 258"/>
                <a:gd name="T4" fmla="*/ 10 w 201"/>
                <a:gd name="T5" fmla="*/ 2 h 258"/>
                <a:gd name="T6" fmla="*/ 10 w 201"/>
                <a:gd name="T7" fmla="*/ 4 h 258"/>
                <a:gd name="T8" fmla="*/ 11 w 201"/>
                <a:gd name="T9" fmla="*/ 4 h 258"/>
                <a:gd name="T10" fmla="*/ 10 w 201"/>
                <a:gd name="T11" fmla="*/ 4 h 258"/>
                <a:gd name="T12" fmla="*/ 10 w 201"/>
                <a:gd name="T13" fmla="*/ 5 h 258"/>
                <a:gd name="T14" fmla="*/ 10 w 201"/>
                <a:gd name="T15" fmla="*/ 7 h 258"/>
                <a:gd name="T16" fmla="*/ 8 w 201"/>
                <a:gd name="T17" fmla="*/ 8 h 258"/>
                <a:gd name="T18" fmla="*/ 6 w 201"/>
                <a:gd name="T19" fmla="*/ 10 h 258"/>
                <a:gd name="T20" fmla="*/ 5 w 201"/>
                <a:gd name="T21" fmla="*/ 12 h 258"/>
                <a:gd name="T22" fmla="*/ 3 w 201"/>
                <a:gd name="T23" fmla="*/ 15 h 258"/>
                <a:gd name="T24" fmla="*/ 1 w 201"/>
                <a:gd name="T25" fmla="*/ 15 h 258"/>
                <a:gd name="T26" fmla="*/ 1 w 201"/>
                <a:gd name="T27" fmla="*/ 12 h 258"/>
                <a:gd name="T28" fmla="*/ 1 w 201"/>
                <a:gd name="T29" fmla="*/ 10 h 258"/>
                <a:gd name="T30" fmla="*/ 0 w 201"/>
                <a:gd name="T31" fmla="*/ 8 h 258"/>
                <a:gd name="T32" fmla="*/ 2 w 201"/>
                <a:gd name="T33" fmla="*/ 8 h 258"/>
                <a:gd name="T34" fmla="*/ 0 w 201"/>
                <a:gd name="T35" fmla="*/ 6 h 258"/>
                <a:gd name="T36" fmla="*/ 2 w 201"/>
                <a:gd name="T37" fmla="*/ 5 h 258"/>
                <a:gd name="T38" fmla="*/ 2 w 201"/>
                <a:gd name="T39" fmla="*/ 3 h 258"/>
                <a:gd name="T40" fmla="*/ 3 w 201"/>
                <a:gd name="T41" fmla="*/ 3 h 258"/>
                <a:gd name="T42" fmla="*/ 4 w 201"/>
                <a:gd name="T43" fmla="*/ 1 h 258"/>
                <a:gd name="T44" fmla="*/ 5 w 201"/>
                <a:gd name="T45" fmla="*/ 0 h 258"/>
                <a:gd name="T46" fmla="*/ 7 w 201"/>
                <a:gd name="T47" fmla="*/ 0 h 25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1"/>
                <a:gd name="T73" fmla="*/ 0 h 258"/>
                <a:gd name="T74" fmla="*/ 201 w 201"/>
                <a:gd name="T75" fmla="*/ 258 h 25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1" h="258">
                  <a:moveTo>
                    <a:pt x="120" y="1"/>
                  </a:moveTo>
                  <a:lnTo>
                    <a:pt x="148" y="3"/>
                  </a:lnTo>
                  <a:lnTo>
                    <a:pt x="175" y="33"/>
                  </a:lnTo>
                  <a:lnTo>
                    <a:pt x="173" y="61"/>
                  </a:lnTo>
                  <a:lnTo>
                    <a:pt x="201" y="64"/>
                  </a:lnTo>
                  <a:lnTo>
                    <a:pt x="173" y="61"/>
                  </a:lnTo>
                  <a:lnTo>
                    <a:pt x="172" y="91"/>
                  </a:lnTo>
                  <a:lnTo>
                    <a:pt x="171" y="120"/>
                  </a:lnTo>
                  <a:lnTo>
                    <a:pt x="141" y="147"/>
                  </a:lnTo>
                  <a:lnTo>
                    <a:pt x="111" y="174"/>
                  </a:lnTo>
                  <a:lnTo>
                    <a:pt x="81" y="202"/>
                  </a:lnTo>
                  <a:lnTo>
                    <a:pt x="51" y="258"/>
                  </a:lnTo>
                  <a:lnTo>
                    <a:pt x="23" y="257"/>
                  </a:lnTo>
                  <a:lnTo>
                    <a:pt x="26" y="199"/>
                  </a:lnTo>
                  <a:lnTo>
                    <a:pt x="27" y="171"/>
                  </a:lnTo>
                  <a:lnTo>
                    <a:pt x="0" y="139"/>
                  </a:lnTo>
                  <a:lnTo>
                    <a:pt x="28" y="141"/>
                  </a:lnTo>
                  <a:lnTo>
                    <a:pt x="2" y="111"/>
                  </a:lnTo>
                  <a:lnTo>
                    <a:pt x="31" y="83"/>
                  </a:lnTo>
                  <a:lnTo>
                    <a:pt x="33" y="55"/>
                  </a:lnTo>
                  <a:lnTo>
                    <a:pt x="60" y="56"/>
                  </a:lnTo>
                  <a:lnTo>
                    <a:pt x="63" y="27"/>
                  </a:lnTo>
                  <a:lnTo>
                    <a:pt x="92" y="0"/>
                  </a:lnTo>
                  <a:lnTo>
                    <a:pt x="120" y="1"/>
                  </a:lnTo>
                </a:path>
              </a:pathLst>
            </a:custGeom>
            <a:solidFill>
              <a:srgbClr val="B2C2D1"/>
            </a:solidFill>
            <a:ln w="9525">
              <a:noFill/>
              <a:round/>
              <a:headEnd/>
              <a:tailEnd/>
            </a:ln>
          </p:spPr>
          <p:txBody>
            <a:bodyPr/>
            <a:lstStyle/>
            <a:p>
              <a:endParaRPr lang="el-GR"/>
            </a:p>
          </p:txBody>
        </p:sp>
        <p:sp>
          <p:nvSpPr>
            <p:cNvPr id="208" name="Freeform 85"/>
            <p:cNvSpPr>
              <a:spLocks/>
            </p:cNvSpPr>
            <p:nvPr/>
          </p:nvSpPr>
          <p:spPr bwMode="auto">
            <a:xfrm>
              <a:off x="3456" y="2617"/>
              <a:ext cx="103" cy="67"/>
            </a:xfrm>
            <a:custGeom>
              <a:avLst/>
              <a:gdLst>
                <a:gd name="T0" fmla="*/ 0 w 431"/>
                <a:gd name="T1" fmla="*/ 14 h 283"/>
                <a:gd name="T2" fmla="*/ 2 w 431"/>
                <a:gd name="T3" fmla="*/ 14 h 283"/>
                <a:gd name="T4" fmla="*/ 1 w 431"/>
                <a:gd name="T5" fmla="*/ 16 h 283"/>
                <a:gd name="T6" fmla="*/ 5 w 431"/>
                <a:gd name="T7" fmla="*/ 16 h 283"/>
                <a:gd name="T8" fmla="*/ 6 w 431"/>
                <a:gd name="T9" fmla="*/ 14 h 283"/>
                <a:gd name="T10" fmla="*/ 8 w 431"/>
                <a:gd name="T11" fmla="*/ 14 h 283"/>
                <a:gd name="T12" fmla="*/ 10 w 431"/>
                <a:gd name="T13" fmla="*/ 13 h 283"/>
                <a:gd name="T14" fmla="*/ 11 w 431"/>
                <a:gd name="T15" fmla="*/ 11 h 283"/>
                <a:gd name="T16" fmla="*/ 13 w 431"/>
                <a:gd name="T17" fmla="*/ 10 h 283"/>
                <a:gd name="T18" fmla="*/ 15 w 431"/>
                <a:gd name="T19" fmla="*/ 8 h 283"/>
                <a:gd name="T20" fmla="*/ 18 w 431"/>
                <a:gd name="T21" fmla="*/ 5 h 283"/>
                <a:gd name="T22" fmla="*/ 22 w 431"/>
                <a:gd name="T23" fmla="*/ 5 h 283"/>
                <a:gd name="T24" fmla="*/ 25 w 431"/>
                <a:gd name="T25" fmla="*/ 5 h 283"/>
                <a:gd name="T26" fmla="*/ 22 w 431"/>
                <a:gd name="T27" fmla="*/ 4 h 283"/>
                <a:gd name="T28" fmla="*/ 20 w 431"/>
                <a:gd name="T29" fmla="*/ 0 h 283"/>
                <a:gd name="T30" fmla="*/ 18 w 431"/>
                <a:gd name="T31" fmla="*/ 0 h 283"/>
                <a:gd name="T32" fmla="*/ 17 w 431"/>
                <a:gd name="T33" fmla="*/ 2 h 283"/>
                <a:gd name="T34" fmla="*/ 15 w 431"/>
                <a:gd name="T35" fmla="*/ 3 h 283"/>
                <a:gd name="T36" fmla="*/ 17 w 431"/>
                <a:gd name="T37" fmla="*/ 3 h 283"/>
                <a:gd name="T38" fmla="*/ 15 w 431"/>
                <a:gd name="T39" fmla="*/ 5 h 283"/>
                <a:gd name="T40" fmla="*/ 13 w 431"/>
                <a:gd name="T41" fmla="*/ 6 h 283"/>
                <a:gd name="T42" fmla="*/ 12 w 431"/>
                <a:gd name="T43" fmla="*/ 8 h 283"/>
                <a:gd name="T44" fmla="*/ 10 w 431"/>
                <a:gd name="T45" fmla="*/ 8 h 283"/>
                <a:gd name="T46" fmla="*/ 8 w 431"/>
                <a:gd name="T47" fmla="*/ 8 h 283"/>
                <a:gd name="T48" fmla="*/ 8 w 431"/>
                <a:gd name="T49" fmla="*/ 9 h 283"/>
                <a:gd name="T50" fmla="*/ 10 w 431"/>
                <a:gd name="T51" fmla="*/ 9 h 283"/>
                <a:gd name="T52" fmla="*/ 8 w 431"/>
                <a:gd name="T53" fmla="*/ 11 h 283"/>
                <a:gd name="T54" fmla="*/ 7 w 431"/>
                <a:gd name="T55" fmla="*/ 11 h 283"/>
                <a:gd name="T56" fmla="*/ 5 w 431"/>
                <a:gd name="T57" fmla="*/ 11 h 283"/>
                <a:gd name="T58" fmla="*/ 5 w 431"/>
                <a:gd name="T59" fmla="*/ 13 h 283"/>
                <a:gd name="T60" fmla="*/ 3 w 431"/>
                <a:gd name="T61" fmla="*/ 11 h 283"/>
                <a:gd name="T62" fmla="*/ 2 w 431"/>
                <a:gd name="T63" fmla="*/ 12 h 283"/>
                <a:gd name="T64" fmla="*/ 2 w 431"/>
                <a:gd name="T65" fmla="*/ 14 h 283"/>
                <a:gd name="T66" fmla="*/ 0 w 431"/>
                <a:gd name="T67" fmla="*/ 14 h 2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31"/>
                <a:gd name="T103" fmla="*/ 0 h 283"/>
                <a:gd name="T104" fmla="*/ 431 w 431"/>
                <a:gd name="T105" fmla="*/ 283 h 28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31" h="283">
                  <a:moveTo>
                    <a:pt x="0" y="249"/>
                  </a:moveTo>
                  <a:lnTo>
                    <a:pt x="28" y="250"/>
                  </a:lnTo>
                  <a:lnTo>
                    <a:pt x="26" y="280"/>
                  </a:lnTo>
                  <a:lnTo>
                    <a:pt x="83" y="283"/>
                  </a:lnTo>
                  <a:lnTo>
                    <a:pt x="113" y="255"/>
                  </a:lnTo>
                  <a:lnTo>
                    <a:pt x="141" y="257"/>
                  </a:lnTo>
                  <a:lnTo>
                    <a:pt x="171" y="228"/>
                  </a:lnTo>
                  <a:lnTo>
                    <a:pt x="201" y="201"/>
                  </a:lnTo>
                  <a:lnTo>
                    <a:pt x="230" y="172"/>
                  </a:lnTo>
                  <a:lnTo>
                    <a:pt x="259" y="144"/>
                  </a:lnTo>
                  <a:lnTo>
                    <a:pt x="319" y="89"/>
                  </a:lnTo>
                  <a:lnTo>
                    <a:pt x="375" y="91"/>
                  </a:lnTo>
                  <a:lnTo>
                    <a:pt x="431" y="95"/>
                  </a:lnTo>
                  <a:lnTo>
                    <a:pt x="377" y="63"/>
                  </a:lnTo>
                  <a:lnTo>
                    <a:pt x="352" y="3"/>
                  </a:lnTo>
                  <a:lnTo>
                    <a:pt x="324" y="0"/>
                  </a:lnTo>
                  <a:lnTo>
                    <a:pt x="294" y="30"/>
                  </a:lnTo>
                  <a:lnTo>
                    <a:pt x="265" y="57"/>
                  </a:lnTo>
                  <a:lnTo>
                    <a:pt x="293" y="58"/>
                  </a:lnTo>
                  <a:lnTo>
                    <a:pt x="262" y="86"/>
                  </a:lnTo>
                  <a:lnTo>
                    <a:pt x="233" y="114"/>
                  </a:lnTo>
                  <a:lnTo>
                    <a:pt x="203" y="141"/>
                  </a:lnTo>
                  <a:lnTo>
                    <a:pt x="176" y="140"/>
                  </a:lnTo>
                  <a:lnTo>
                    <a:pt x="148" y="139"/>
                  </a:lnTo>
                  <a:lnTo>
                    <a:pt x="147" y="168"/>
                  </a:lnTo>
                  <a:lnTo>
                    <a:pt x="175" y="169"/>
                  </a:lnTo>
                  <a:lnTo>
                    <a:pt x="144" y="197"/>
                  </a:lnTo>
                  <a:lnTo>
                    <a:pt x="116" y="196"/>
                  </a:lnTo>
                  <a:lnTo>
                    <a:pt x="88" y="195"/>
                  </a:lnTo>
                  <a:lnTo>
                    <a:pt x="86" y="224"/>
                  </a:lnTo>
                  <a:lnTo>
                    <a:pt x="60" y="193"/>
                  </a:lnTo>
                  <a:lnTo>
                    <a:pt x="30" y="221"/>
                  </a:lnTo>
                  <a:lnTo>
                    <a:pt x="28" y="250"/>
                  </a:lnTo>
                  <a:lnTo>
                    <a:pt x="0" y="249"/>
                  </a:lnTo>
                  <a:close/>
                </a:path>
              </a:pathLst>
            </a:custGeom>
            <a:solidFill>
              <a:srgbClr val="B2C2D1"/>
            </a:solidFill>
            <a:ln w="9525">
              <a:noFill/>
              <a:round/>
              <a:headEnd/>
              <a:tailEnd/>
            </a:ln>
          </p:spPr>
          <p:txBody>
            <a:bodyPr/>
            <a:lstStyle/>
            <a:p>
              <a:endParaRPr lang="el-GR"/>
            </a:p>
          </p:txBody>
        </p:sp>
        <p:sp>
          <p:nvSpPr>
            <p:cNvPr id="209" name="Freeform 86"/>
            <p:cNvSpPr>
              <a:spLocks/>
            </p:cNvSpPr>
            <p:nvPr/>
          </p:nvSpPr>
          <p:spPr bwMode="auto">
            <a:xfrm>
              <a:off x="3456" y="2617"/>
              <a:ext cx="103" cy="67"/>
            </a:xfrm>
            <a:custGeom>
              <a:avLst/>
              <a:gdLst>
                <a:gd name="T0" fmla="*/ 0 w 431"/>
                <a:gd name="T1" fmla="*/ 14 h 283"/>
                <a:gd name="T2" fmla="*/ 2 w 431"/>
                <a:gd name="T3" fmla="*/ 14 h 283"/>
                <a:gd name="T4" fmla="*/ 1 w 431"/>
                <a:gd name="T5" fmla="*/ 16 h 283"/>
                <a:gd name="T6" fmla="*/ 5 w 431"/>
                <a:gd name="T7" fmla="*/ 16 h 283"/>
                <a:gd name="T8" fmla="*/ 6 w 431"/>
                <a:gd name="T9" fmla="*/ 14 h 283"/>
                <a:gd name="T10" fmla="*/ 8 w 431"/>
                <a:gd name="T11" fmla="*/ 14 h 283"/>
                <a:gd name="T12" fmla="*/ 10 w 431"/>
                <a:gd name="T13" fmla="*/ 13 h 283"/>
                <a:gd name="T14" fmla="*/ 11 w 431"/>
                <a:gd name="T15" fmla="*/ 11 h 283"/>
                <a:gd name="T16" fmla="*/ 13 w 431"/>
                <a:gd name="T17" fmla="*/ 10 h 283"/>
                <a:gd name="T18" fmla="*/ 15 w 431"/>
                <a:gd name="T19" fmla="*/ 8 h 283"/>
                <a:gd name="T20" fmla="*/ 18 w 431"/>
                <a:gd name="T21" fmla="*/ 5 h 283"/>
                <a:gd name="T22" fmla="*/ 22 w 431"/>
                <a:gd name="T23" fmla="*/ 5 h 283"/>
                <a:gd name="T24" fmla="*/ 25 w 431"/>
                <a:gd name="T25" fmla="*/ 5 h 283"/>
                <a:gd name="T26" fmla="*/ 22 w 431"/>
                <a:gd name="T27" fmla="*/ 4 h 283"/>
                <a:gd name="T28" fmla="*/ 20 w 431"/>
                <a:gd name="T29" fmla="*/ 0 h 283"/>
                <a:gd name="T30" fmla="*/ 18 w 431"/>
                <a:gd name="T31" fmla="*/ 0 h 283"/>
                <a:gd name="T32" fmla="*/ 17 w 431"/>
                <a:gd name="T33" fmla="*/ 2 h 283"/>
                <a:gd name="T34" fmla="*/ 15 w 431"/>
                <a:gd name="T35" fmla="*/ 3 h 283"/>
                <a:gd name="T36" fmla="*/ 17 w 431"/>
                <a:gd name="T37" fmla="*/ 3 h 283"/>
                <a:gd name="T38" fmla="*/ 15 w 431"/>
                <a:gd name="T39" fmla="*/ 5 h 283"/>
                <a:gd name="T40" fmla="*/ 13 w 431"/>
                <a:gd name="T41" fmla="*/ 6 h 283"/>
                <a:gd name="T42" fmla="*/ 12 w 431"/>
                <a:gd name="T43" fmla="*/ 8 h 283"/>
                <a:gd name="T44" fmla="*/ 10 w 431"/>
                <a:gd name="T45" fmla="*/ 8 h 283"/>
                <a:gd name="T46" fmla="*/ 8 w 431"/>
                <a:gd name="T47" fmla="*/ 8 h 283"/>
                <a:gd name="T48" fmla="*/ 8 w 431"/>
                <a:gd name="T49" fmla="*/ 9 h 283"/>
                <a:gd name="T50" fmla="*/ 10 w 431"/>
                <a:gd name="T51" fmla="*/ 9 h 283"/>
                <a:gd name="T52" fmla="*/ 8 w 431"/>
                <a:gd name="T53" fmla="*/ 11 h 283"/>
                <a:gd name="T54" fmla="*/ 7 w 431"/>
                <a:gd name="T55" fmla="*/ 11 h 283"/>
                <a:gd name="T56" fmla="*/ 5 w 431"/>
                <a:gd name="T57" fmla="*/ 11 h 283"/>
                <a:gd name="T58" fmla="*/ 5 w 431"/>
                <a:gd name="T59" fmla="*/ 13 h 283"/>
                <a:gd name="T60" fmla="*/ 3 w 431"/>
                <a:gd name="T61" fmla="*/ 11 h 283"/>
                <a:gd name="T62" fmla="*/ 2 w 431"/>
                <a:gd name="T63" fmla="*/ 12 h 283"/>
                <a:gd name="T64" fmla="*/ 2 w 431"/>
                <a:gd name="T65" fmla="*/ 14 h 283"/>
                <a:gd name="T66" fmla="*/ 0 w 431"/>
                <a:gd name="T67" fmla="*/ 14 h 28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31"/>
                <a:gd name="T103" fmla="*/ 0 h 283"/>
                <a:gd name="T104" fmla="*/ 431 w 431"/>
                <a:gd name="T105" fmla="*/ 283 h 28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31" h="283">
                  <a:moveTo>
                    <a:pt x="0" y="249"/>
                  </a:moveTo>
                  <a:lnTo>
                    <a:pt x="28" y="250"/>
                  </a:lnTo>
                  <a:lnTo>
                    <a:pt x="26" y="280"/>
                  </a:lnTo>
                  <a:lnTo>
                    <a:pt x="83" y="283"/>
                  </a:lnTo>
                  <a:lnTo>
                    <a:pt x="113" y="255"/>
                  </a:lnTo>
                  <a:lnTo>
                    <a:pt x="141" y="257"/>
                  </a:lnTo>
                  <a:lnTo>
                    <a:pt x="171" y="228"/>
                  </a:lnTo>
                  <a:lnTo>
                    <a:pt x="201" y="201"/>
                  </a:lnTo>
                  <a:lnTo>
                    <a:pt x="230" y="172"/>
                  </a:lnTo>
                  <a:lnTo>
                    <a:pt x="259" y="144"/>
                  </a:lnTo>
                  <a:lnTo>
                    <a:pt x="319" y="89"/>
                  </a:lnTo>
                  <a:lnTo>
                    <a:pt x="375" y="91"/>
                  </a:lnTo>
                  <a:lnTo>
                    <a:pt x="431" y="95"/>
                  </a:lnTo>
                  <a:lnTo>
                    <a:pt x="377" y="63"/>
                  </a:lnTo>
                  <a:lnTo>
                    <a:pt x="352" y="3"/>
                  </a:lnTo>
                  <a:lnTo>
                    <a:pt x="324" y="0"/>
                  </a:lnTo>
                  <a:lnTo>
                    <a:pt x="294" y="30"/>
                  </a:lnTo>
                  <a:lnTo>
                    <a:pt x="265" y="57"/>
                  </a:lnTo>
                  <a:lnTo>
                    <a:pt x="293" y="58"/>
                  </a:lnTo>
                  <a:lnTo>
                    <a:pt x="262" y="86"/>
                  </a:lnTo>
                  <a:lnTo>
                    <a:pt x="233" y="114"/>
                  </a:lnTo>
                  <a:lnTo>
                    <a:pt x="203" y="141"/>
                  </a:lnTo>
                  <a:lnTo>
                    <a:pt x="176" y="140"/>
                  </a:lnTo>
                  <a:lnTo>
                    <a:pt x="148" y="139"/>
                  </a:lnTo>
                  <a:lnTo>
                    <a:pt x="147" y="168"/>
                  </a:lnTo>
                  <a:lnTo>
                    <a:pt x="175" y="169"/>
                  </a:lnTo>
                  <a:lnTo>
                    <a:pt x="144" y="197"/>
                  </a:lnTo>
                  <a:lnTo>
                    <a:pt x="116" y="196"/>
                  </a:lnTo>
                  <a:lnTo>
                    <a:pt x="88" y="195"/>
                  </a:lnTo>
                  <a:lnTo>
                    <a:pt x="86" y="224"/>
                  </a:lnTo>
                  <a:lnTo>
                    <a:pt x="60" y="193"/>
                  </a:lnTo>
                  <a:lnTo>
                    <a:pt x="30" y="221"/>
                  </a:lnTo>
                  <a:lnTo>
                    <a:pt x="28" y="250"/>
                  </a:lnTo>
                  <a:lnTo>
                    <a:pt x="0" y="249"/>
                  </a:lnTo>
                </a:path>
              </a:pathLst>
            </a:custGeom>
            <a:solidFill>
              <a:srgbClr val="B2C2D1"/>
            </a:solidFill>
            <a:ln w="9525">
              <a:noFill/>
              <a:round/>
              <a:headEnd/>
              <a:tailEnd/>
            </a:ln>
          </p:spPr>
          <p:txBody>
            <a:bodyPr/>
            <a:lstStyle/>
            <a:p>
              <a:endParaRPr lang="el-GR"/>
            </a:p>
          </p:txBody>
        </p:sp>
        <p:sp>
          <p:nvSpPr>
            <p:cNvPr id="210" name="Freeform 87"/>
            <p:cNvSpPr>
              <a:spLocks/>
            </p:cNvSpPr>
            <p:nvPr/>
          </p:nvSpPr>
          <p:spPr bwMode="auto">
            <a:xfrm>
              <a:off x="3789" y="2576"/>
              <a:ext cx="46" cy="56"/>
            </a:xfrm>
            <a:custGeom>
              <a:avLst/>
              <a:gdLst>
                <a:gd name="T0" fmla="*/ 3 w 192"/>
                <a:gd name="T1" fmla="*/ 3 h 237"/>
                <a:gd name="T2" fmla="*/ 5 w 192"/>
                <a:gd name="T3" fmla="*/ 5 h 237"/>
                <a:gd name="T4" fmla="*/ 3 w 192"/>
                <a:gd name="T5" fmla="*/ 5 h 237"/>
                <a:gd name="T6" fmla="*/ 1 w 192"/>
                <a:gd name="T7" fmla="*/ 8 h 237"/>
                <a:gd name="T8" fmla="*/ 3 w 192"/>
                <a:gd name="T9" fmla="*/ 10 h 237"/>
                <a:gd name="T10" fmla="*/ 1 w 192"/>
                <a:gd name="T11" fmla="*/ 10 h 237"/>
                <a:gd name="T12" fmla="*/ 3 w 192"/>
                <a:gd name="T13" fmla="*/ 11 h 237"/>
                <a:gd name="T14" fmla="*/ 4 w 192"/>
                <a:gd name="T15" fmla="*/ 13 h 237"/>
                <a:gd name="T16" fmla="*/ 6 w 192"/>
                <a:gd name="T17" fmla="*/ 13 h 237"/>
                <a:gd name="T18" fmla="*/ 6 w 192"/>
                <a:gd name="T19" fmla="*/ 12 h 237"/>
                <a:gd name="T20" fmla="*/ 11 w 192"/>
                <a:gd name="T21" fmla="*/ 12 h 237"/>
                <a:gd name="T22" fmla="*/ 9 w 192"/>
                <a:gd name="T23" fmla="*/ 10 h 237"/>
                <a:gd name="T24" fmla="*/ 11 w 192"/>
                <a:gd name="T25" fmla="*/ 7 h 237"/>
                <a:gd name="T26" fmla="*/ 11 w 192"/>
                <a:gd name="T27" fmla="*/ 5 h 237"/>
                <a:gd name="T28" fmla="*/ 8 w 192"/>
                <a:gd name="T29" fmla="*/ 5 h 237"/>
                <a:gd name="T30" fmla="*/ 6 w 192"/>
                <a:gd name="T31" fmla="*/ 4 h 237"/>
                <a:gd name="T32" fmla="*/ 6 w 192"/>
                <a:gd name="T33" fmla="*/ 2 h 237"/>
                <a:gd name="T34" fmla="*/ 5 w 192"/>
                <a:gd name="T35" fmla="*/ 0 h 237"/>
                <a:gd name="T36" fmla="*/ 0 w 192"/>
                <a:gd name="T37" fmla="*/ 0 h 237"/>
                <a:gd name="T38" fmla="*/ 1 w 192"/>
                <a:gd name="T39" fmla="*/ 3 h 237"/>
                <a:gd name="T40" fmla="*/ 3 w 192"/>
                <a:gd name="T41" fmla="*/ 3 h 2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2"/>
                <a:gd name="T64" fmla="*/ 0 h 237"/>
                <a:gd name="T65" fmla="*/ 192 w 192"/>
                <a:gd name="T66" fmla="*/ 237 h 23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2" h="237">
                  <a:moveTo>
                    <a:pt x="53" y="61"/>
                  </a:moveTo>
                  <a:lnTo>
                    <a:pt x="79" y="90"/>
                  </a:lnTo>
                  <a:lnTo>
                    <a:pt x="52" y="89"/>
                  </a:lnTo>
                  <a:lnTo>
                    <a:pt x="21" y="146"/>
                  </a:lnTo>
                  <a:lnTo>
                    <a:pt x="47" y="176"/>
                  </a:lnTo>
                  <a:lnTo>
                    <a:pt x="20" y="176"/>
                  </a:lnTo>
                  <a:lnTo>
                    <a:pt x="46" y="205"/>
                  </a:lnTo>
                  <a:lnTo>
                    <a:pt x="73" y="236"/>
                  </a:lnTo>
                  <a:lnTo>
                    <a:pt x="101" y="237"/>
                  </a:lnTo>
                  <a:lnTo>
                    <a:pt x="101" y="208"/>
                  </a:lnTo>
                  <a:lnTo>
                    <a:pt x="185" y="212"/>
                  </a:lnTo>
                  <a:lnTo>
                    <a:pt x="159" y="182"/>
                  </a:lnTo>
                  <a:lnTo>
                    <a:pt x="191" y="126"/>
                  </a:lnTo>
                  <a:lnTo>
                    <a:pt x="192" y="97"/>
                  </a:lnTo>
                  <a:lnTo>
                    <a:pt x="135" y="93"/>
                  </a:lnTo>
                  <a:lnTo>
                    <a:pt x="109" y="64"/>
                  </a:lnTo>
                  <a:lnTo>
                    <a:pt x="111" y="35"/>
                  </a:lnTo>
                  <a:lnTo>
                    <a:pt x="85" y="4"/>
                  </a:lnTo>
                  <a:lnTo>
                    <a:pt x="0" y="0"/>
                  </a:lnTo>
                  <a:lnTo>
                    <a:pt x="25" y="59"/>
                  </a:lnTo>
                  <a:lnTo>
                    <a:pt x="53" y="61"/>
                  </a:lnTo>
                  <a:close/>
                </a:path>
              </a:pathLst>
            </a:custGeom>
            <a:solidFill>
              <a:srgbClr val="B2C2D1"/>
            </a:solidFill>
            <a:ln w="9525">
              <a:noFill/>
              <a:round/>
              <a:headEnd/>
              <a:tailEnd/>
            </a:ln>
          </p:spPr>
          <p:txBody>
            <a:bodyPr/>
            <a:lstStyle/>
            <a:p>
              <a:endParaRPr lang="el-GR"/>
            </a:p>
          </p:txBody>
        </p:sp>
        <p:sp>
          <p:nvSpPr>
            <p:cNvPr id="211" name="Freeform 88"/>
            <p:cNvSpPr>
              <a:spLocks/>
            </p:cNvSpPr>
            <p:nvPr/>
          </p:nvSpPr>
          <p:spPr bwMode="auto">
            <a:xfrm>
              <a:off x="3789" y="2576"/>
              <a:ext cx="46" cy="56"/>
            </a:xfrm>
            <a:custGeom>
              <a:avLst/>
              <a:gdLst>
                <a:gd name="T0" fmla="*/ 3 w 192"/>
                <a:gd name="T1" fmla="*/ 3 h 237"/>
                <a:gd name="T2" fmla="*/ 5 w 192"/>
                <a:gd name="T3" fmla="*/ 5 h 237"/>
                <a:gd name="T4" fmla="*/ 3 w 192"/>
                <a:gd name="T5" fmla="*/ 5 h 237"/>
                <a:gd name="T6" fmla="*/ 1 w 192"/>
                <a:gd name="T7" fmla="*/ 8 h 237"/>
                <a:gd name="T8" fmla="*/ 3 w 192"/>
                <a:gd name="T9" fmla="*/ 10 h 237"/>
                <a:gd name="T10" fmla="*/ 1 w 192"/>
                <a:gd name="T11" fmla="*/ 10 h 237"/>
                <a:gd name="T12" fmla="*/ 3 w 192"/>
                <a:gd name="T13" fmla="*/ 11 h 237"/>
                <a:gd name="T14" fmla="*/ 4 w 192"/>
                <a:gd name="T15" fmla="*/ 13 h 237"/>
                <a:gd name="T16" fmla="*/ 6 w 192"/>
                <a:gd name="T17" fmla="*/ 13 h 237"/>
                <a:gd name="T18" fmla="*/ 6 w 192"/>
                <a:gd name="T19" fmla="*/ 12 h 237"/>
                <a:gd name="T20" fmla="*/ 11 w 192"/>
                <a:gd name="T21" fmla="*/ 12 h 237"/>
                <a:gd name="T22" fmla="*/ 9 w 192"/>
                <a:gd name="T23" fmla="*/ 10 h 237"/>
                <a:gd name="T24" fmla="*/ 11 w 192"/>
                <a:gd name="T25" fmla="*/ 7 h 237"/>
                <a:gd name="T26" fmla="*/ 11 w 192"/>
                <a:gd name="T27" fmla="*/ 5 h 237"/>
                <a:gd name="T28" fmla="*/ 8 w 192"/>
                <a:gd name="T29" fmla="*/ 5 h 237"/>
                <a:gd name="T30" fmla="*/ 6 w 192"/>
                <a:gd name="T31" fmla="*/ 4 h 237"/>
                <a:gd name="T32" fmla="*/ 6 w 192"/>
                <a:gd name="T33" fmla="*/ 2 h 237"/>
                <a:gd name="T34" fmla="*/ 5 w 192"/>
                <a:gd name="T35" fmla="*/ 0 h 237"/>
                <a:gd name="T36" fmla="*/ 0 w 192"/>
                <a:gd name="T37" fmla="*/ 0 h 237"/>
                <a:gd name="T38" fmla="*/ 1 w 192"/>
                <a:gd name="T39" fmla="*/ 3 h 237"/>
                <a:gd name="T40" fmla="*/ 3 w 192"/>
                <a:gd name="T41" fmla="*/ 3 h 23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2"/>
                <a:gd name="T64" fmla="*/ 0 h 237"/>
                <a:gd name="T65" fmla="*/ 192 w 192"/>
                <a:gd name="T66" fmla="*/ 237 h 23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2" h="237">
                  <a:moveTo>
                    <a:pt x="53" y="61"/>
                  </a:moveTo>
                  <a:lnTo>
                    <a:pt x="79" y="90"/>
                  </a:lnTo>
                  <a:lnTo>
                    <a:pt x="52" y="89"/>
                  </a:lnTo>
                  <a:lnTo>
                    <a:pt x="21" y="146"/>
                  </a:lnTo>
                  <a:lnTo>
                    <a:pt x="47" y="176"/>
                  </a:lnTo>
                  <a:lnTo>
                    <a:pt x="20" y="176"/>
                  </a:lnTo>
                  <a:lnTo>
                    <a:pt x="46" y="205"/>
                  </a:lnTo>
                  <a:lnTo>
                    <a:pt x="73" y="236"/>
                  </a:lnTo>
                  <a:lnTo>
                    <a:pt x="101" y="237"/>
                  </a:lnTo>
                  <a:lnTo>
                    <a:pt x="101" y="208"/>
                  </a:lnTo>
                  <a:lnTo>
                    <a:pt x="185" y="212"/>
                  </a:lnTo>
                  <a:lnTo>
                    <a:pt x="159" y="182"/>
                  </a:lnTo>
                  <a:lnTo>
                    <a:pt x="191" y="126"/>
                  </a:lnTo>
                  <a:lnTo>
                    <a:pt x="192" y="97"/>
                  </a:lnTo>
                  <a:lnTo>
                    <a:pt x="135" y="93"/>
                  </a:lnTo>
                  <a:lnTo>
                    <a:pt x="109" y="64"/>
                  </a:lnTo>
                  <a:lnTo>
                    <a:pt x="111" y="35"/>
                  </a:lnTo>
                  <a:lnTo>
                    <a:pt x="85" y="4"/>
                  </a:lnTo>
                  <a:lnTo>
                    <a:pt x="0" y="0"/>
                  </a:lnTo>
                  <a:lnTo>
                    <a:pt x="25" y="59"/>
                  </a:lnTo>
                  <a:lnTo>
                    <a:pt x="53" y="61"/>
                  </a:lnTo>
                </a:path>
              </a:pathLst>
            </a:custGeom>
            <a:solidFill>
              <a:srgbClr val="B2C2D1"/>
            </a:solidFill>
            <a:ln w="9525">
              <a:noFill/>
              <a:round/>
              <a:headEnd/>
              <a:tailEnd/>
            </a:ln>
          </p:spPr>
          <p:txBody>
            <a:bodyPr/>
            <a:lstStyle/>
            <a:p>
              <a:endParaRPr lang="el-GR"/>
            </a:p>
          </p:txBody>
        </p:sp>
        <p:sp>
          <p:nvSpPr>
            <p:cNvPr id="212" name="Freeform 89"/>
            <p:cNvSpPr>
              <a:spLocks/>
            </p:cNvSpPr>
            <p:nvPr/>
          </p:nvSpPr>
          <p:spPr bwMode="auto">
            <a:xfrm>
              <a:off x="3065" y="2401"/>
              <a:ext cx="43" cy="68"/>
            </a:xfrm>
            <a:custGeom>
              <a:avLst/>
              <a:gdLst>
                <a:gd name="T0" fmla="*/ 2 w 179"/>
                <a:gd name="T1" fmla="*/ 11 h 287"/>
                <a:gd name="T2" fmla="*/ 2 w 179"/>
                <a:gd name="T3" fmla="*/ 11 h 287"/>
                <a:gd name="T4" fmla="*/ 3 w 179"/>
                <a:gd name="T5" fmla="*/ 11 h 287"/>
                <a:gd name="T6" fmla="*/ 4 w 179"/>
                <a:gd name="T7" fmla="*/ 10 h 287"/>
                <a:gd name="T8" fmla="*/ 2 w 179"/>
                <a:gd name="T9" fmla="*/ 9 h 287"/>
                <a:gd name="T10" fmla="*/ 2 w 179"/>
                <a:gd name="T11" fmla="*/ 8 h 287"/>
                <a:gd name="T12" fmla="*/ 4 w 179"/>
                <a:gd name="T13" fmla="*/ 8 h 287"/>
                <a:gd name="T14" fmla="*/ 2 w 179"/>
                <a:gd name="T15" fmla="*/ 6 h 287"/>
                <a:gd name="T16" fmla="*/ 2 w 179"/>
                <a:gd name="T17" fmla="*/ 5 h 287"/>
                <a:gd name="T18" fmla="*/ 2 w 179"/>
                <a:gd name="T19" fmla="*/ 3 h 287"/>
                <a:gd name="T20" fmla="*/ 4 w 179"/>
                <a:gd name="T21" fmla="*/ 1 h 287"/>
                <a:gd name="T22" fmla="*/ 7 w 179"/>
                <a:gd name="T23" fmla="*/ 0 h 287"/>
                <a:gd name="T24" fmla="*/ 7 w 179"/>
                <a:gd name="T25" fmla="*/ 2 h 287"/>
                <a:gd name="T26" fmla="*/ 6 w 179"/>
                <a:gd name="T27" fmla="*/ 1 h 287"/>
                <a:gd name="T28" fmla="*/ 7 w 179"/>
                <a:gd name="T29" fmla="*/ 3 h 287"/>
                <a:gd name="T30" fmla="*/ 7 w 179"/>
                <a:gd name="T31" fmla="*/ 5 h 287"/>
                <a:gd name="T32" fmla="*/ 9 w 179"/>
                <a:gd name="T33" fmla="*/ 5 h 287"/>
                <a:gd name="T34" fmla="*/ 10 w 179"/>
                <a:gd name="T35" fmla="*/ 7 h 287"/>
                <a:gd name="T36" fmla="*/ 9 w 179"/>
                <a:gd name="T37" fmla="*/ 8 h 287"/>
                <a:gd name="T38" fmla="*/ 7 w 179"/>
                <a:gd name="T39" fmla="*/ 8 h 287"/>
                <a:gd name="T40" fmla="*/ 9 w 179"/>
                <a:gd name="T41" fmla="*/ 10 h 287"/>
                <a:gd name="T42" fmla="*/ 7 w 179"/>
                <a:gd name="T43" fmla="*/ 11 h 287"/>
                <a:gd name="T44" fmla="*/ 7 w 179"/>
                <a:gd name="T45" fmla="*/ 13 h 287"/>
                <a:gd name="T46" fmla="*/ 5 w 179"/>
                <a:gd name="T47" fmla="*/ 15 h 287"/>
                <a:gd name="T48" fmla="*/ 3 w 179"/>
                <a:gd name="T49" fmla="*/ 14 h 287"/>
                <a:gd name="T50" fmla="*/ 3 w 179"/>
                <a:gd name="T51" fmla="*/ 16 h 287"/>
                <a:gd name="T52" fmla="*/ 1 w 179"/>
                <a:gd name="T53" fmla="*/ 16 h 287"/>
                <a:gd name="T54" fmla="*/ 2 w 179"/>
                <a:gd name="T55" fmla="*/ 14 h 287"/>
                <a:gd name="T56" fmla="*/ 0 w 179"/>
                <a:gd name="T57" fmla="*/ 14 h 287"/>
                <a:gd name="T58" fmla="*/ 2 w 179"/>
                <a:gd name="T59" fmla="*/ 11 h 2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9"/>
                <a:gd name="T91" fmla="*/ 0 h 287"/>
                <a:gd name="T92" fmla="*/ 179 w 179"/>
                <a:gd name="T93" fmla="*/ 287 h 2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9" h="287">
                  <a:moveTo>
                    <a:pt x="32" y="198"/>
                  </a:moveTo>
                  <a:lnTo>
                    <a:pt x="32" y="198"/>
                  </a:lnTo>
                  <a:lnTo>
                    <a:pt x="60" y="199"/>
                  </a:lnTo>
                  <a:lnTo>
                    <a:pt x="61" y="171"/>
                  </a:lnTo>
                  <a:lnTo>
                    <a:pt x="33" y="169"/>
                  </a:lnTo>
                  <a:lnTo>
                    <a:pt x="34" y="141"/>
                  </a:lnTo>
                  <a:lnTo>
                    <a:pt x="64" y="142"/>
                  </a:lnTo>
                  <a:lnTo>
                    <a:pt x="37" y="112"/>
                  </a:lnTo>
                  <a:lnTo>
                    <a:pt x="38" y="83"/>
                  </a:lnTo>
                  <a:lnTo>
                    <a:pt x="40" y="53"/>
                  </a:lnTo>
                  <a:lnTo>
                    <a:pt x="69" y="26"/>
                  </a:lnTo>
                  <a:lnTo>
                    <a:pt x="129" y="0"/>
                  </a:lnTo>
                  <a:lnTo>
                    <a:pt x="126" y="29"/>
                  </a:lnTo>
                  <a:lnTo>
                    <a:pt x="98" y="27"/>
                  </a:lnTo>
                  <a:lnTo>
                    <a:pt x="125" y="58"/>
                  </a:lnTo>
                  <a:lnTo>
                    <a:pt x="123" y="87"/>
                  </a:lnTo>
                  <a:lnTo>
                    <a:pt x="152" y="88"/>
                  </a:lnTo>
                  <a:lnTo>
                    <a:pt x="179" y="119"/>
                  </a:lnTo>
                  <a:lnTo>
                    <a:pt x="149" y="146"/>
                  </a:lnTo>
                  <a:lnTo>
                    <a:pt x="121" y="145"/>
                  </a:lnTo>
                  <a:lnTo>
                    <a:pt x="148" y="176"/>
                  </a:lnTo>
                  <a:lnTo>
                    <a:pt x="118" y="203"/>
                  </a:lnTo>
                  <a:lnTo>
                    <a:pt x="116" y="232"/>
                  </a:lnTo>
                  <a:lnTo>
                    <a:pt x="86" y="260"/>
                  </a:lnTo>
                  <a:lnTo>
                    <a:pt x="57" y="258"/>
                  </a:lnTo>
                  <a:lnTo>
                    <a:pt x="56" y="287"/>
                  </a:lnTo>
                  <a:lnTo>
                    <a:pt x="27" y="285"/>
                  </a:lnTo>
                  <a:lnTo>
                    <a:pt x="29" y="257"/>
                  </a:lnTo>
                  <a:lnTo>
                    <a:pt x="0" y="255"/>
                  </a:lnTo>
                  <a:lnTo>
                    <a:pt x="32" y="198"/>
                  </a:lnTo>
                  <a:close/>
                </a:path>
              </a:pathLst>
            </a:custGeom>
            <a:solidFill>
              <a:srgbClr val="B2C2D1"/>
            </a:solidFill>
            <a:ln w="9525">
              <a:noFill/>
              <a:round/>
              <a:headEnd/>
              <a:tailEnd/>
            </a:ln>
          </p:spPr>
          <p:txBody>
            <a:bodyPr/>
            <a:lstStyle/>
            <a:p>
              <a:endParaRPr lang="el-GR"/>
            </a:p>
          </p:txBody>
        </p:sp>
        <p:sp>
          <p:nvSpPr>
            <p:cNvPr id="213" name="Freeform 90"/>
            <p:cNvSpPr>
              <a:spLocks/>
            </p:cNvSpPr>
            <p:nvPr/>
          </p:nvSpPr>
          <p:spPr bwMode="auto">
            <a:xfrm>
              <a:off x="3065" y="2401"/>
              <a:ext cx="43" cy="68"/>
            </a:xfrm>
            <a:custGeom>
              <a:avLst/>
              <a:gdLst>
                <a:gd name="T0" fmla="*/ 2 w 179"/>
                <a:gd name="T1" fmla="*/ 11 h 287"/>
                <a:gd name="T2" fmla="*/ 2 w 179"/>
                <a:gd name="T3" fmla="*/ 11 h 287"/>
                <a:gd name="T4" fmla="*/ 3 w 179"/>
                <a:gd name="T5" fmla="*/ 11 h 287"/>
                <a:gd name="T6" fmla="*/ 4 w 179"/>
                <a:gd name="T7" fmla="*/ 10 h 287"/>
                <a:gd name="T8" fmla="*/ 2 w 179"/>
                <a:gd name="T9" fmla="*/ 9 h 287"/>
                <a:gd name="T10" fmla="*/ 2 w 179"/>
                <a:gd name="T11" fmla="*/ 8 h 287"/>
                <a:gd name="T12" fmla="*/ 4 w 179"/>
                <a:gd name="T13" fmla="*/ 8 h 287"/>
                <a:gd name="T14" fmla="*/ 2 w 179"/>
                <a:gd name="T15" fmla="*/ 6 h 287"/>
                <a:gd name="T16" fmla="*/ 2 w 179"/>
                <a:gd name="T17" fmla="*/ 5 h 287"/>
                <a:gd name="T18" fmla="*/ 2 w 179"/>
                <a:gd name="T19" fmla="*/ 3 h 287"/>
                <a:gd name="T20" fmla="*/ 4 w 179"/>
                <a:gd name="T21" fmla="*/ 1 h 287"/>
                <a:gd name="T22" fmla="*/ 7 w 179"/>
                <a:gd name="T23" fmla="*/ 0 h 287"/>
                <a:gd name="T24" fmla="*/ 7 w 179"/>
                <a:gd name="T25" fmla="*/ 2 h 287"/>
                <a:gd name="T26" fmla="*/ 6 w 179"/>
                <a:gd name="T27" fmla="*/ 1 h 287"/>
                <a:gd name="T28" fmla="*/ 7 w 179"/>
                <a:gd name="T29" fmla="*/ 3 h 287"/>
                <a:gd name="T30" fmla="*/ 7 w 179"/>
                <a:gd name="T31" fmla="*/ 5 h 287"/>
                <a:gd name="T32" fmla="*/ 9 w 179"/>
                <a:gd name="T33" fmla="*/ 5 h 287"/>
                <a:gd name="T34" fmla="*/ 10 w 179"/>
                <a:gd name="T35" fmla="*/ 7 h 287"/>
                <a:gd name="T36" fmla="*/ 9 w 179"/>
                <a:gd name="T37" fmla="*/ 8 h 287"/>
                <a:gd name="T38" fmla="*/ 7 w 179"/>
                <a:gd name="T39" fmla="*/ 8 h 287"/>
                <a:gd name="T40" fmla="*/ 9 w 179"/>
                <a:gd name="T41" fmla="*/ 10 h 287"/>
                <a:gd name="T42" fmla="*/ 7 w 179"/>
                <a:gd name="T43" fmla="*/ 11 h 287"/>
                <a:gd name="T44" fmla="*/ 7 w 179"/>
                <a:gd name="T45" fmla="*/ 13 h 287"/>
                <a:gd name="T46" fmla="*/ 5 w 179"/>
                <a:gd name="T47" fmla="*/ 15 h 287"/>
                <a:gd name="T48" fmla="*/ 3 w 179"/>
                <a:gd name="T49" fmla="*/ 14 h 287"/>
                <a:gd name="T50" fmla="*/ 3 w 179"/>
                <a:gd name="T51" fmla="*/ 16 h 287"/>
                <a:gd name="T52" fmla="*/ 1 w 179"/>
                <a:gd name="T53" fmla="*/ 16 h 287"/>
                <a:gd name="T54" fmla="*/ 2 w 179"/>
                <a:gd name="T55" fmla="*/ 14 h 287"/>
                <a:gd name="T56" fmla="*/ 0 w 179"/>
                <a:gd name="T57" fmla="*/ 14 h 287"/>
                <a:gd name="T58" fmla="*/ 2 w 179"/>
                <a:gd name="T59" fmla="*/ 11 h 2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9"/>
                <a:gd name="T91" fmla="*/ 0 h 287"/>
                <a:gd name="T92" fmla="*/ 179 w 179"/>
                <a:gd name="T93" fmla="*/ 287 h 28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9" h="287">
                  <a:moveTo>
                    <a:pt x="32" y="198"/>
                  </a:moveTo>
                  <a:lnTo>
                    <a:pt x="32" y="198"/>
                  </a:lnTo>
                  <a:lnTo>
                    <a:pt x="60" y="199"/>
                  </a:lnTo>
                  <a:lnTo>
                    <a:pt x="61" y="171"/>
                  </a:lnTo>
                  <a:lnTo>
                    <a:pt x="33" y="169"/>
                  </a:lnTo>
                  <a:lnTo>
                    <a:pt x="34" y="141"/>
                  </a:lnTo>
                  <a:lnTo>
                    <a:pt x="64" y="142"/>
                  </a:lnTo>
                  <a:lnTo>
                    <a:pt x="37" y="112"/>
                  </a:lnTo>
                  <a:lnTo>
                    <a:pt x="38" y="83"/>
                  </a:lnTo>
                  <a:lnTo>
                    <a:pt x="40" y="53"/>
                  </a:lnTo>
                  <a:lnTo>
                    <a:pt x="69" y="26"/>
                  </a:lnTo>
                  <a:lnTo>
                    <a:pt x="129" y="0"/>
                  </a:lnTo>
                  <a:lnTo>
                    <a:pt x="126" y="29"/>
                  </a:lnTo>
                  <a:lnTo>
                    <a:pt x="98" y="27"/>
                  </a:lnTo>
                  <a:lnTo>
                    <a:pt x="125" y="58"/>
                  </a:lnTo>
                  <a:lnTo>
                    <a:pt x="123" y="87"/>
                  </a:lnTo>
                  <a:lnTo>
                    <a:pt x="152" y="88"/>
                  </a:lnTo>
                  <a:lnTo>
                    <a:pt x="179" y="119"/>
                  </a:lnTo>
                  <a:lnTo>
                    <a:pt x="149" y="146"/>
                  </a:lnTo>
                  <a:lnTo>
                    <a:pt x="121" y="145"/>
                  </a:lnTo>
                  <a:lnTo>
                    <a:pt x="148" y="176"/>
                  </a:lnTo>
                  <a:lnTo>
                    <a:pt x="118" y="203"/>
                  </a:lnTo>
                  <a:lnTo>
                    <a:pt x="116" y="232"/>
                  </a:lnTo>
                  <a:lnTo>
                    <a:pt x="86" y="260"/>
                  </a:lnTo>
                  <a:lnTo>
                    <a:pt x="57" y="258"/>
                  </a:lnTo>
                  <a:lnTo>
                    <a:pt x="56" y="287"/>
                  </a:lnTo>
                  <a:lnTo>
                    <a:pt x="27" y="285"/>
                  </a:lnTo>
                  <a:lnTo>
                    <a:pt x="29" y="257"/>
                  </a:lnTo>
                  <a:lnTo>
                    <a:pt x="0" y="255"/>
                  </a:lnTo>
                  <a:lnTo>
                    <a:pt x="32" y="198"/>
                  </a:lnTo>
                </a:path>
              </a:pathLst>
            </a:custGeom>
            <a:solidFill>
              <a:srgbClr val="B2C2D1"/>
            </a:solidFill>
            <a:ln w="9525">
              <a:noFill/>
              <a:round/>
              <a:headEnd/>
              <a:tailEnd/>
            </a:ln>
          </p:spPr>
          <p:txBody>
            <a:bodyPr/>
            <a:lstStyle/>
            <a:p>
              <a:endParaRPr lang="el-GR"/>
            </a:p>
          </p:txBody>
        </p:sp>
        <p:sp>
          <p:nvSpPr>
            <p:cNvPr id="214" name="Freeform 91"/>
            <p:cNvSpPr>
              <a:spLocks/>
            </p:cNvSpPr>
            <p:nvPr/>
          </p:nvSpPr>
          <p:spPr bwMode="auto">
            <a:xfrm>
              <a:off x="3619" y="2737"/>
              <a:ext cx="61" cy="48"/>
            </a:xfrm>
            <a:custGeom>
              <a:avLst/>
              <a:gdLst>
                <a:gd name="T0" fmla="*/ 6 w 258"/>
                <a:gd name="T1" fmla="*/ 10 h 206"/>
                <a:gd name="T2" fmla="*/ 8 w 258"/>
                <a:gd name="T3" fmla="*/ 6 h 206"/>
                <a:gd name="T4" fmla="*/ 9 w 258"/>
                <a:gd name="T5" fmla="*/ 8 h 206"/>
                <a:gd name="T6" fmla="*/ 8 w 258"/>
                <a:gd name="T7" fmla="*/ 6 h 206"/>
                <a:gd name="T8" fmla="*/ 11 w 258"/>
                <a:gd name="T9" fmla="*/ 7 h 206"/>
                <a:gd name="T10" fmla="*/ 11 w 258"/>
                <a:gd name="T11" fmla="*/ 5 h 206"/>
                <a:gd name="T12" fmla="*/ 14 w 258"/>
                <a:gd name="T13" fmla="*/ 5 h 206"/>
                <a:gd name="T14" fmla="*/ 13 w 258"/>
                <a:gd name="T15" fmla="*/ 3 h 206"/>
                <a:gd name="T16" fmla="*/ 8 w 258"/>
                <a:gd name="T17" fmla="*/ 0 h 206"/>
                <a:gd name="T18" fmla="*/ 8 w 258"/>
                <a:gd name="T19" fmla="*/ 2 h 206"/>
                <a:gd name="T20" fmla="*/ 11 w 258"/>
                <a:gd name="T21" fmla="*/ 2 h 206"/>
                <a:gd name="T22" fmla="*/ 10 w 258"/>
                <a:gd name="T23" fmla="*/ 3 h 206"/>
                <a:gd name="T24" fmla="*/ 6 w 258"/>
                <a:gd name="T25" fmla="*/ 5 h 206"/>
                <a:gd name="T26" fmla="*/ 6 w 258"/>
                <a:gd name="T27" fmla="*/ 6 h 206"/>
                <a:gd name="T28" fmla="*/ 5 w 258"/>
                <a:gd name="T29" fmla="*/ 5 h 206"/>
                <a:gd name="T30" fmla="*/ 2 w 258"/>
                <a:gd name="T31" fmla="*/ 3 h 206"/>
                <a:gd name="T32" fmla="*/ 0 w 258"/>
                <a:gd name="T33" fmla="*/ 3 h 206"/>
                <a:gd name="T34" fmla="*/ 0 w 258"/>
                <a:gd name="T35" fmla="*/ 4 h 206"/>
                <a:gd name="T36" fmla="*/ 2 w 258"/>
                <a:gd name="T37" fmla="*/ 6 h 206"/>
                <a:gd name="T38" fmla="*/ 0 w 258"/>
                <a:gd name="T39" fmla="*/ 8 h 206"/>
                <a:gd name="T40" fmla="*/ 1 w 258"/>
                <a:gd name="T41" fmla="*/ 11 h 206"/>
                <a:gd name="T42" fmla="*/ 4 w 258"/>
                <a:gd name="T43" fmla="*/ 11 h 206"/>
                <a:gd name="T44" fmla="*/ 8 w 258"/>
                <a:gd name="T45" fmla="*/ 11 h 206"/>
                <a:gd name="T46" fmla="*/ 6 w 258"/>
                <a:gd name="T47" fmla="*/ 10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8"/>
                <a:gd name="T73" fmla="*/ 0 h 206"/>
                <a:gd name="T74" fmla="*/ 258 w 258"/>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8" h="206">
                  <a:moveTo>
                    <a:pt x="112" y="176"/>
                  </a:moveTo>
                  <a:lnTo>
                    <a:pt x="144" y="118"/>
                  </a:lnTo>
                  <a:lnTo>
                    <a:pt x="171" y="149"/>
                  </a:lnTo>
                  <a:lnTo>
                    <a:pt x="144" y="118"/>
                  </a:lnTo>
                  <a:lnTo>
                    <a:pt x="200" y="121"/>
                  </a:lnTo>
                  <a:lnTo>
                    <a:pt x="202" y="92"/>
                  </a:lnTo>
                  <a:lnTo>
                    <a:pt x="258" y="94"/>
                  </a:lnTo>
                  <a:lnTo>
                    <a:pt x="231" y="63"/>
                  </a:lnTo>
                  <a:lnTo>
                    <a:pt x="149" y="0"/>
                  </a:lnTo>
                  <a:lnTo>
                    <a:pt x="149" y="30"/>
                  </a:lnTo>
                  <a:lnTo>
                    <a:pt x="204" y="32"/>
                  </a:lnTo>
                  <a:lnTo>
                    <a:pt x="175" y="60"/>
                  </a:lnTo>
                  <a:lnTo>
                    <a:pt x="116" y="87"/>
                  </a:lnTo>
                  <a:lnTo>
                    <a:pt x="115" y="116"/>
                  </a:lnTo>
                  <a:lnTo>
                    <a:pt x="88" y="86"/>
                  </a:lnTo>
                  <a:lnTo>
                    <a:pt x="33" y="54"/>
                  </a:lnTo>
                  <a:lnTo>
                    <a:pt x="5" y="51"/>
                  </a:lnTo>
                  <a:lnTo>
                    <a:pt x="3" y="81"/>
                  </a:lnTo>
                  <a:lnTo>
                    <a:pt x="30" y="112"/>
                  </a:lnTo>
                  <a:lnTo>
                    <a:pt x="0" y="140"/>
                  </a:lnTo>
                  <a:lnTo>
                    <a:pt x="26" y="201"/>
                  </a:lnTo>
                  <a:lnTo>
                    <a:pt x="82" y="203"/>
                  </a:lnTo>
                  <a:lnTo>
                    <a:pt x="138" y="206"/>
                  </a:lnTo>
                  <a:lnTo>
                    <a:pt x="112" y="176"/>
                  </a:lnTo>
                  <a:close/>
                </a:path>
              </a:pathLst>
            </a:custGeom>
            <a:solidFill>
              <a:srgbClr val="B2C2D1"/>
            </a:solidFill>
            <a:ln w="9525">
              <a:noFill/>
              <a:round/>
              <a:headEnd/>
              <a:tailEnd/>
            </a:ln>
          </p:spPr>
          <p:txBody>
            <a:bodyPr/>
            <a:lstStyle/>
            <a:p>
              <a:endParaRPr lang="el-GR"/>
            </a:p>
          </p:txBody>
        </p:sp>
        <p:sp>
          <p:nvSpPr>
            <p:cNvPr id="215" name="Freeform 92"/>
            <p:cNvSpPr>
              <a:spLocks/>
            </p:cNvSpPr>
            <p:nvPr/>
          </p:nvSpPr>
          <p:spPr bwMode="auto">
            <a:xfrm>
              <a:off x="3619" y="2737"/>
              <a:ext cx="61" cy="48"/>
            </a:xfrm>
            <a:custGeom>
              <a:avLst/>
              <a:gdLst>
                <a:gd name="T0" fmla="*/ 6 w 258"/>
                <a:gd name="T1" fmla="*/ 10 h 206"/>
                <a:gd name="T2" fmla="*/ 8 w 258"/>
                <a:gd name="T3" fmla="*/ 6 h 206"/>
                <a:gd name="T4" fmla="*/ 9 w 258"/>
                <a:gd name="T5" fmla="*/ 8 h 206"/>
                <a:gd name="T6" fmla="*/ 8 w 258"/>
                <a:gd name="T7" fmla="*/ 6 h 206"/>
                <a:gd name="T8" fmla="*/ 11 w 258"/>
                <a:gd name="T9" fmla="*/ 7 h 206"/>
                <a:gd name="T10" fmla="*/ 11 w 258"/>
                <a:gd name="T11" fmla="*/ 5 h 206"/>
                <a:gd name="T12" fmla="*/ 14 w 258"/>
                <a:gd name="T13" fmla="*/ 5 h 206"/>
                <a:gd name="T14" fmla="*/ 13 w 258"/>
                <a:gd name="T15" fmla="*/ 3 h 206"/>
                <a:gd name="T16" fmla="*/ 8 w 258"/>
                <a:gd name="T17" fmla="*/ 0 h 206"/>
                <a:gd name="T18" fmla="*/ 8 w 258"/>
                <a:gd name="T19" fmla="*/ 2 h 206"/>
                <a:gd name="T20" fmla="*/ 11 w 258"/>
                <a:gd name="T21" fmla="*/ 2 h 206"/>
                <a:gd name="T22" fmla="*/ 10 w 258"/>
                <a:gd name="T23" fmla="*/ 3 h 206"/>
                <a:gd name="T24" fmla="*/ 6 w 258"/>
                <a:gd name="T25" fmla="*/ 5 h 206"/>
                <a:gd name="T26" fmla="*/ 6 w 258"/>
                <a:gd name="T27" fmla="*/ 6 h 206"/>
                <a:gd name="T28" fmla="*/ 5 w 258"/>
                <a:gd name="T29" fmla="*/ 5 h 206"/>
                <a:gd name="T30" fmla="*/ 2 w 258"/>
                <a:gd name="T31" fmla="*/ 3 h 206"/>
                <a:gd name="T32" fmla="*/ 0 w 258"/>
                <a:gd name="T33" fmla="*/ 3 h 206"/>
                <a:gd name="T34" fmla="*/ 0 w 258"/>
                <a:gd name="T35" fmla="*/ 4 h 206"/>
                <a:gd name="T36" fmla="*/ 2 w 258"/>
                <a:gd name="T37" fmla="*/ 6 h 206"/>
                <a:gd name="T38" fmla="*/ 0 w 258"/>
                <a:gd name="T39" fmla="*/ 8 h 206"/>
                <a:gd name="T40" fmla="*/ 1 w 258"/>
                <a:gd name="T41" fmla="*/ 11 h 206"/>
                <a:gd name="T42" fmla="*/ 4 w 258"/>
                <a:gd name="T43" fmla="*/ 11 h 206"/>
                <a:gd name="T44" fmla="*/ 8 w 258"/>
                <a:gd name="T45" fmla="*/ 11 h 206"/>
                <a:gd name="T46" fmla="*/ 6 w 258"/>
                <a:gd name="T47" fmla="*/ 10 h 2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58"/>
                <a:gd name="T73" fmla="*/ 0 h 206"/>
                <a:gd name="T74" fmla="*/ 258 w 258"/>
                <a:gd name="T75" fmla="*/ 206 h 20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58" h="206">
                  <a:moveTo>
                    <a:pt x="112" y="176"/>
                  </a:moveTo>
                  <a:lnTo>
                    <a:pt x="144" y="118"/>
                  </a:lnTo>
                  <a:lnTo>
                    <a:pt x="171" y="149"/>
                  </a:lnTo>
                  <a:lnTo>
                    <a:pt x="144" y="118"/>
                  </a:lnTo>
                  <a:lnTo>
                    <a:pt x="200" y="121"/>
                  </a:lnTo>
                  <a:lnTo>
                    <a:pt x="202" y="92"/>
                  </a:lnTo>
                  <a:lnTo>
                    <a:pt x="258" y="94"/>
                  </a:lnTo>
                  <a:lnTo>
                    <a:pt x="231" y="63"/>
                  </a:lnTo>
                  <a:lnTo>
                    <a:pt x="149" y="0"/>
                  </a:lnTo>
                  <a:lnTo>
                    <a:pt x="149" y="30"/>
                  </a:lnTo>
                  <a:lnTo>
                    <a:pt x="204" y="32"/>
                  </a:lnTo>
                  <a:lnTo>
                    <a:pt x="175" y="60"/>
                  </a:lnTo>
                  <a:lnTo>
                    <a:pt x="116" y="87"/>
                  </a:lnTo>
                  <a:lnTo>
                    <a:pt x="115" y="116"/>
                  </a:lnTo>
                  <a:lnTo>
                    <a:pt x="88" y="86"/>
                  </a:lnTo>
                  <a:lnTo>
                    <a:pt x="33" y="54"/>
                  </a:lnTo>
                  <a:lnTo>
                    <a:pt x="5" y="51"/>
                  </a:lnTo>
                  <a:lnTo>
                    <a:pt x="3" y="81"/>
                  </a:lnTo>
                  <a:lnTo>
                    <a:pt x="30" y="112"/>
                  </a:lnTo>
                  <a:lnTo>
                    <a:pt x="0" y="140"/>
                  </a:lnTo>
                  <a:lnTo>
                    <a:pt x="26" y="201"/>
                  </a:lnTo>
                  <a:lnTo>
                    <a:pt x="82" y="203"/>
                  </a:lnTo>
                  <a:lnTo>
                    <a:pt x="138" y="206"/>
                  </a:lnTo>
                  <a:lnTo>
                    <a:pt x="112" y="176"/>
                  </a:lnTo>
                </a:path>
              </a:pathLst>
            </a:custGeom>
            <a:solidFill>
              <a:srgbClr val="B2C2D1"/>
            </a:solidFill>
            <a:ln w="9525">
              <a:noFill/>
              <a:round/>
              <a:headEnd/>
              <a:tailEnd/>
            </a:ln>
          </p:spPr>
          <p:txBody>
            <a:bodyPr/>
            <a:lstStyle/>
            <a:p>
              <a:endParaRPr lang="el-GR"/>
            </a:p>
          </p:txBody>
        </p:sp>
        <p:sp>
          <p:nvSpPr>
            <p:cNvPr id="216" name="Freeform 93"/>
            <p:cNvSpPr>
              <a:spLocks/>
            </p:cNvSpPr>
            <p:nvPr/>
          </p:nvSpPr>
          <p:spPr bwMode="auto">
            <a:xfrm>
              <a:off x="3322" y="2669"/>
              <a:ext cx="33" cy="58"/>
            </a:xfrm>
            <a:custGeom>
              <a:avLst/>
              <a:gdLst>
                <a:gd name="T0" fmla="*/ 6 w 142"/>
                <a:gd name="T1" fmla="*/ 6 h 241"/>
                <a:gd name="T2" fmla="*/ 8 w 142"/>
                <a:gd name="T3" fmla="*/ 7 h 241"/>
                <a:gd name="T4" fmla="*/ 8 w 142"/>
                <a:gd name="T5" fmla="*/ 9 h 241"/>
                <a:gd name="T6" fmla="*/ 7 w 142"/>
                <a:gd name="T7" fmla="*/ 13 h 241"/>
                <a:gd name="T8" fmla="*/ 6 w 142"/>
                <a:gd name="T9" fmla="*/ 12 h 241"/>
                <a:gd name="T10" fmla="*/ 6 w 142"/>
                <a:gd name="T11" fmla="*/ 14 h 241"/>
                <a:gd name="T12" fmla="*/ 4 w 142"/>
                <a:gd name="T13" fmla="*/ 11 h 241"/>
                <a:gd name="T14" fmla="*/ 3 w 142"/>
                <a:gd name="T15" fmla="*/ 9 h 241"/>
                <a:gd name="T16" fmla="*/ 2 w 142"/>
                <a:gd name="T17" fmla="*/ 7 h 241"/>
                <a:gd name="T18" fmla="*/ 0 w 142"/>
                <a:gd name="T19" fmla="*/ 7 h 241"/>
                <a:gd name="T20" fmla="*/ 0 w 142"/>
                <a:gd name="T21" fmla="*/ 5 h 241"/>
                <a:gd name="T22" fmla="*/ 0 w 142"/>
                <a:gd name="T23" fmla="*/ 3 h 241"/>
                <a:gd name="T24" fmla="*/ 0 w 142"/>
                <a:gd name="T25" fmla="*/ 2 h 241"/>
                <a:gd name="T26" fmla="*/ 0 w 142"/>
                <a:gd name="T27" fmla="*/ 0 h 241"/>
                <a:gd name="T28" fmla="*/ 2 w 142"/>
                <a:gd name="T29" fmla="*/ 0 h 241"/>
                <a:gd name="T30" fmla="*/ 3 w 142"/>
                <a:gd name="T31" fmla="*/ 0 h 241"/>
                <a:gd name="T32" fmla="*/ 5 w 142"/>
                <a:gd name="T33" fmla="*/ 4 h 241"/>
                <a:gd name="T34" fmla="*/ 6 w 142"/>
                <a:gd name="T35" fmla="*/ 6 h 2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2"/>
                <a:gd name="T55" fmla="*/ 0 h 241"/>
                <a:gd name="T56" fmla="*/ 142 w 142"/>
                <a:gd name="T57" fmla="*/ 241 h 24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2" h="241">
                  <a:moveTo>
                    <a:pt x="115" y="94"/>
                  </a:moveTo>
                  <a:lnTo>
                    <a:pt x="142" y="126"/>
                  </a:lnTo>
                  <a:lnTo>
                    <a:pt x="140" y="154"/>
                  </a:lnTo>
                  <a:lnTo>
                    <a:pt x="138" y="214"/>
                  </a:lnTo>
                  <a:lnTo>
                    <a:pt x="109" y="212"/>
                  </a:lnTo>
                  <a:lnTo>
                    <a:pt x="107" y="241"/>
                  </a:lnTo>
                  <a:lnTo>
                    <a:pt x="82" y="181"/>
                  </a:lnTo>
                  <a:lnTo>
                    <a:pt x="55" y="151"/>
                  </a:lnTo>
                  <a:lnTo>
                    <a:pt x="28" y="119"/>
                  </a:lnTo>
                  <a:lnTo>
                    <a:pt x="0" y="117"/>
                  </a:lnTo>
                  <a:lnTo>
                    <a:pt x="2" y="89"/>
                  </a:lnTo>
                  <a:lnTo>
                    <a:pt x="3" y="59"/>
                  </a:lnTo>
                  <a:lnTo>
                    <a:pt x="4" y="29"/>
                  </a:lnTo>
                  <a:lnTo>
                    <a:pt x="5" y="0"/>
                  </a:lnTo>
                  <a:lnTo>
                    <a:pt x="35" y="1"/>
                  </a:lnTo>
                  <a:lnTo>
                    <a:pt x="63" y="3"/>
                  </a:lnTo>
                  <a:lnTo>
                    <a:pt x="88" y="64"/>
                  </a:lnTo>
                  <a:lnTo>
                    <a:pt x="115" y="94"/>
                  </a:lnTo>
                  <a:close/>
                </a:path>
              </a:pathLst>
            </a:custGeom>
            <a:solidFill>
              <a:srgbClr val="B2C2D1"/>
            </a:solidFill>
            <a:ln w="9525">
              <a:noFill/>
              <a:round/>
              <a:headEnd/>
              <a:tailEnd/>
            </a:ln>
          </p:spPr>
          <p:txBody>
            <a:bodyPr/>
            <a:lstStyle/>
            <a:p>
              <a:endParaRPr lang="el-GR"/>
            </a:p>
          </p:txBody>
        </p:sp>
        <p:sp>
          <p:nvSpPr>
            <p:cNvPr id="217" name="Freeform 94"/>
            <p:cNvSpPr>
              <a:spLocks/>
            </p:cNvSpPr>
            <p:nvPr/>
          </p:nvSpPr>
          <p:spPr bwMode="auto">
            <a:xfrm>
              <a:off x="3322" y="2669"/>
              <a:ext cx="33" cy="58"/>
            </a:xfrm>
            <a:custGeom>
              <a:avLst/>
              <a:gdLst>
                <a:gd name="T0" fmla="*/ 6 w 142"/>
                <a:gd name="T1" fmla="*/ 6 h 241"/>
                <a:gd name="T2" fmla="*/ 8 w 142"/>
                <a:gd name="T3" fmla="*/ 7 h 241"/>
                <a:gd name="T4" fmla="*/ 8 w 142"/>
                <a:gd name="T5" fmla="*/ 9 h 241"/>
                <a:gd name="T6" fmla="*/ 7 w 142"/>
                <a:gd name="T7" fmla="*/ 13 h 241"/>
                <a:gd name="T8" fmla="*/ 6 w 142"/>
                <a:gd name="T9" fmla="*/ 12 h 241"/>
                <a:gd name="T10" fmla="*/ 6 w 142"/>
                <a:gd name="T11" fmla="*/ 14 h 241"/>
                <a:gd name="T12" fmla="*/ 4 w 142"/>
                <a:gd name="T13" fmla="*/ 11 h 241"/>
                <a:gd name="T14" fmla="*/ 3 w 142"/>
                <a:gd name="T15" fmla="*/ 9 h 241"/>
                <a:gd name="T16" fmla="*/ 2 w 142"/>
                <a:gd name="T17" fmla="*/ 7 h 241"/>
                <a:gd name="T18" fmla="*/ 0 w 142"/>
                <a:gd name="T19" fmla="*/ 7 h 241"/>
                <a:gd name="T20" fmla="*/ 0 w 142"/>
                <a:gd name="T21" fmla="*/ 5 h 241"/>
                <a:gd name="T22" fmla="*/ 0 w 142"/>
                <a:gd name="T23" fmla="*/ 3 h 241"/>
                <a:gd name="T24" fmla="*/ 0 w 142"/>
                <a:gd name="T25" fmla="*/ 2 h 241"/>
                <a:gd name="T26" fmla="*/ 0 w 142"/>
                <a:gd name="T27" fmla="*/ 0 h 241"/>
                <a:gd name="T28" fmla="*/ 2 w 142"/>
                <a:gd name="T29" fmla="*/ 0 h 241"/>
                <a:gd name="T30" fmla="*/ 3 w 142"/>
                <a:gd name="T31" fmla="*/ 0 h 241"/>
                <a:gd name="T32" fmla="*/ 5 w 142"/>
                <a:gd name="T33" fmla="*/ 4 h 241"/>
                <a:gd name="T34" fmla="*/ 6 w 142"/>
                <a:gd name="T35" fmla="*/ 6 h 2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2"/>
                <a:gd name="T55" fmla="*/ 0 h 241"/>
                <a:gd name="T56" fmla="*/ 142 w 142"/>
                <a:gd name="T57" fmla="*/ 241 h 24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2" h="241">
                  <a:moveTo>
                    <a:pt x="115" y="94"/>
                  </a:moveTo>
                  <a:lnTo>
                    <a:pt x="142" y="126"/>
                  </a:lnTo>
                  <a:lnTo>
                    <a:pt x="140" y="154"/>
                  </a:lnTo>
                  <a:lnTo>
                    <a:pt x="138" y="214"/>
                  </a:lnTo>
                  <a:lnTo>
                    <a:pt x="109" y="212"/>
                  </a:lnTo>
                  <a:lnTo>
                    <a:pt x="107" y="241"/>
                  </a:lnTo>
                  <a:lnTo>
                    <a:pt x="82" y="181"/>
                  </a:lnTo>
                  <a:lnTo>
                    <a:pt x="55" y="151"/>
                  </a:lnTo>
                  <a:lnTo>
                    <a:pt x="28" y="119"/>
                  </a:lnTo>
                  <a:lnTo>
                    <a:pt x="0" y="117"/>
                  </a:lnTo>
                  <a:lnTo>
                    <a:pt x="2" y="89"/>
                  </a:lnTo>
                  <a:lnTo>
                    <a:pt x="3" y="59"/>
                  </a:lnTo>
                  <a:lnTo>
                    <a:pt x="4" y="29"/>
                  </a:lnTo>
                  <a:lnTo>
                    <a:pt x="5" y="0"/>
                  </a:lnTo>
                  <a:lnTo>
                    <a:pt x="35" y="1"/>
                  </a:lnTo>
                  <a:lnTo>
                    <a:pt x="63" y="3"/>
                  </a:lnTo>
                  <a:lnTo>
                    <a:pt x="88" y="64"/>
                  </a:lnTo>
                  <a:lnTo>
                    <a:pt x="115" y="94"/>
                  </a:lnTo>
                </a:path>
              </a:pathLst>
            </a:custGeom>
            <a:solidFill>
              <a:srgbClr val="B2C2D1"/>
            </a:solidFill>
            <a:ln w="9525">
              <a:noFill/>
              <a:round/>
              <a:headEnd/>
              <a:tailEnd/>
            </a:ln>
          </p:spPr>
          <p:txBody>
            <a:bodyPr/>
            <a:lstStyle/>
            <a:p>
              <a:endParaRPr lang="el-GR"/>
            </a:p>
          </p:txBody>
        </p:sp>
        <p:sp>
          <p:nvSpPr>
            <p:cNvPr id="218" name="Freeform 95"/>
            <p:cNvSpPr>
              <a:spLocks/>
            </p:cNvSpPr>
            <p:nvPr/>
          </p:nvSpPr>
          <p:spPr bwMode="auto">
            <a:xfrm>
              <a:off x="3195" y="2378"/>
              <a:ext cx="34" cy="56"/>
            </a:xfrm>
            <a:custGeom>
              <a:avLst/>
              <a:gdLst>
                <a:gd name="T0" fmla="*/ 7 w 145"/>
                <a:gd name="T1" fmla="*/ 5 h 237"/>
                <a:gd name="T2" fmla="*/ 7 w 145"/>
                <a:gd name="T3" fmla="*/ 7 h 237"/>
                <a:gd name="T4" fmla="*/ 8 w 145"/>
                <a:gd name="T5" fmla="*/ 9 h 237"/>
                <a:gd name="T6" fmla="*/ 8 w 145"/>
                <a:gd name="T7" fmla="*/ 10 h 237"/>
                <a:gd name="T8" fmla="*/ 6 w 145"/>
                <a:gd name="T9" fmla="*/ 12 h 237"/>
                <a:gd name="T10" fmla="*/ 5 w 145"/>
                <a:gd name="T11" fmla="*/ 12 h 237"/>
                <a:gd name="T12" fmla="*/ 1 w 145"/>
                <a:gd name="T13" fmla="*/ 13 h 237"/>
                <a:gd name="T14" fmla="*/ 2 w 145"/>
                <a:gd name="T15" fmla="*/ 12 h 237"/>
                <a:gd name="T16" fmla="*/ 0 w 145"/>
                <a:gd name="T17" fmla="*/ 12 h 237"/>
                <a:gd name="T18" fmla="*/ 0 w 145"/>
                <a:gd name="T19" fmla="*/ 8 h 237"/>
                <a:gd name="T20" fmla="*/ 2 w 145"/>
                <a:gd name="T21" fmla="*/ 8 h 237"/>
                <a:gd name="T22" fmla="*/ 0 w 145"/>
                <a:gd name="T23" fmla="*/ 8 h 237"/>
                <a:gd name="T24" fmla="*/ 2 w 145"/>
                <a:gd name="T25" fmla="*/ 7 h 237"/>
                <a:gd name="T26" fmla="*/ 2 w 145"/>
                <a:gd name="T27" fmla="*/ 5 h 237"/>
                <a:gd name="T28" fmla="*/ 2 w 145"/>
                <a:gd name="T29" fmla="*/ 2 h 237"/>
                <a:gd name="T30" fmla="*/ 1 w 145"/>
                <a:gd name="T31" fmla="*/ 0 h 237"/>
                <a:gd name="T32" fmla="*/ 7 w 145"/>
                <a:gd name="T33" fmla="*/ 2 h 237"/>
                <a:gd name="T34" fmla="*/ 7 w 145"/>
                <a:gd name="T35" fmla="*/ 5 h 2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5"/>
                <a:gd name="T55" fmla="*/ 0 h 237"/>
                <a:gd name="T56" fmla="*/ 145 w 145"/>
                <a:gd name="T57" fmla="*/ 237 h 23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5" h="237">
                  <a:moveTo>
                    <a:pt x="120" y="94"/>
                  </a:moveTo>
                  <a:lnTo>
                    <a:pt x="118" y="123"/>
                  </a:lnTo>
                  <a:lnTo>
                    <a:pt x="145" y="155"/>
                  </a:lnTo>
                  <a:lnTo>
                    <a:pt x="143" y="184"/>
                  </a:lnTo>
                  <a:lnTo>
                    <a:pt x="114" y="212"/>
                  </a:lnTo>
                  <a:lnTo>
                    <a:pt x="86" y="211"/>
                  </a:lnTo>
                  <a:lnTo>
                    <a:pt x="26" y="237"/>
                  </a:lnTo>
                  <a:lnTo>
                    <a:pt x="28" y="208"/>
                  </a:lnTo>
                  <a:lnTo>
                    <a:pt x="0" y="207"/>
                  </a:lnTo>
                  <a:lnTo>
                    <a:pt x="3" y="147"/>
                  </a:lnTo>
                  <a:lnTo>
                    <a:pt x="32" y="148"/>
                  </a:lnTo>
                  <a:lnTo>
                    <a:pt x="3" y="147"/>
                  </a:lnTo>
                  <a:lnTo>
                    <a:pt x="33" y="119"/>
                  </a:lnTo>
                  <a:lnTo>
                    <a:pt x="35" y="90"/>
                  </a:lnTo>
                  <a:lnTo>
                    <a:pt x="38" y="30"/>
                  </a:lnTo>
                  <a:lnTo>
                    <a:pt x="11" y="0"/>
                  </a:lnTo>
                  <a:lnTo>
                    <a:pt x="122" y="36"/>
                  </a:lnTo>
                  <a:lnTo>
                    <a:pt x="120" y="94"/>
                  </a:lnTo>
                  <a:close/>
                </a:path>
              </a:pathLst>
            </a:custGeom>
            <a:solidFill>
              <a:srgbClr val="B2C2D1"/>
            </a:solidFill>
            <a:ln w="9525">
              <a:noFill/>
              <a:round/>
              <a:headEnd/>
              <a:tailEnd/>
            </a:ln>
          </p:spPr>
          <p:txBody>
            <a:bodyPr/>
            <a:lstStyle/>
            <a:p>
              <a:endParaRPr lang="el-GR"/>
            </a:p>
          </p:txBody>
        </p:sp>
        <p:sp>
          <p:nvSpPr>
            <p:cNvPr id="219" name="Freeform 96"/>
            <p:cNvSpPr>
              <a:spLocks/>
            </p:cNvSpPr>
            <p:nvPr/>
          </p:nvSpPr>
          <p:spPr bwMode="auto">
            <a:xfrm>
              <a:off x="3195" y="2378"/>
              <a:ext cx="34" cy="56"/>
            </a:xfrm>
            <a:custGeom>
              <a:avLst/>
              <a:gdLst>
                <a:gd name="T0" fmla="*/ 7 w 145"/>
                <a:gd name="T1" fmla="*/ 5 h 237"/>
                <a:gd name="T2" fmla="*/ 7 w 145"/>
                <a:gd name="T3" fmla="*/ 7 h 237"/>
                <a:gd name="T4" fmla="*/ 8 w 145"/>
                <a:gd name="T5" fmla="*/ 9 h 237"/>
                <a:gd name="T6" fmla="*/ 8 w 145"/>
                <a:gd name="T7" fmla="*/ 10 h 237"/>
                <a:gd name="T8" fmla="*/ 6 w 145"/>
                <a:gd name="T9" fmla="*/ 12 h 237"/>
                <a:gd name="T10" fmla="*/ 5 w 145"/>
                <a:gd name="T11" fmla="*/ 12 h 237"/>
                <a:gd name="T12" fmla="*/ 1 w 145"/>
                <a:gd name="T13" fmla="*/ 13 h 237"/>
                <a:gd name="T14" fmla="*/ 2 w 145"/>
                <a:gd name="T15" fmla="*/ 12 h 237"/>
                <a:gd name="T16" fmla="*/ 0 w 145"/>
                <a:gd name="T17" fmla="*/ 12 h 237"/>
                <a:gd name="T18" fmla="*/ 0 w 145"/>
                <a:gd name="T19" fmla="*/ 8 h 237"/>
                <a:gd name="T20" fmla="*/ 2 w 145"/>
                <a:gd name="T21" fmla="*/ 8 h 237"/>
                <a:gd name="T22" fmla="*/ 0 w 145"/>
                <a:gd name="T23" fmla="*/ 8 h 237"/>
                <a:gd name="T24" fmla="*/ 2 w 145"/>
                <a:gd name="T25" fmla="*/ 7 h 237"/>
                <a:gd name="T26" fmla="*/ 2 w 145"/>
                <a:gd name="T27" fmla="*/ 5 h 237"/>
                <a:gd name="T28" fmla="*/ 2 w 145"/>
                <a:gd name="T29" fmla="*/ 2 h 237"/>
                <a:gd name="T30" fmla="*/ 1 w 145"/>
                <a:gd name="T31" fmla="*/ 0 h 237"/>
                <a:gd name="T32" fmla="*/ 7 w 145"/>
                <a:gd name="T33" fmla="*/ 2 h 237"/>
                <a:gd name="T34" fmla="*/ 7 w 145"/>
                <a:gd name="T35" fmla="*/ 5 h 23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5"/>
                <a:gd name="T55" fmla="*/ 0 h 237"/>
                <a:gd name="T56" fmla="*/ 145 w 145"/>
                <a:gd name="T57" fmla="*/ 237 h 23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5" h="237">
                  <a:moveTo>
                    <a:pt x="120" y="94"/>
                  </a:moveTo>
                  <a:lnTo>
                    <a:pt x="118" y="123"/>
                  </a:lnTo>
                  <a:lnTo>
                    <a:pt x="145" y="155"/>
                  </a:lnTo>
                  <a:lnTo>
                    <a:pt x="143" y="184"/>
                  </a:lnTo>
                  <a:lnTo>
                    <a:pt x="114" y="212"/>
                  </a:lnTo>
                  <a:lnTo>
                    <a:pt x="86" y="211"/>
                  </a:lnTo>
                  <a:lnTo>
                    <a:pt x="26" y="237"/>
                  </a:lnTo>
                  <a:lnTo>
                    <a:pt x="28" y="208"/>
                  </a:lnTo>
                  <a:lnTo>
                    <a:pt x="0" y="207"/>
                  </a:lnTo>
                  <a:lnTo>
                    <a:pt x="3" y="147"/>
                  </a:lnTo>
                  <a:lnTo>
                    <a:pt x="32" y="148"/>
                  </a:lnTo>
                  <a:lnTo>
                    <a:pt x="3" y="147"/>
                  </a:lnTo>
                  <a:lnTo>
                    <a:pt x="33" y="119"/>
                  </a:lnTo>
                  <a:lnTo>
                    <a:pt x="35" y="90"/>
                  </a:lnTo>
                  <a:lnTo>
                    <a:pt x="38" y="30"/>
                  </a:lnTo>
                  <a:lnTo>
                    <a:pt x="11" y="0"/>
                  </a:lnTo>
                  <a:lnTo>
                    <a:pt x="122" y="36"/>
                  </a:lnTo>
                  <a:lnTo>
                    <a:pt x="120" y="94"/>
                  </a:lnTo>
                </a:path>
              </a:pathLst>
            </a:custGeom>
            <a:solidFill>
              <a:srgbClr val="B2C2D1"/>
            </a:solidFill>
            <a:ln w="9525">
              <a:noFill/>
              <a:round/>
              <a:headEnd/>
              <a:tailEnd/>
            </a:ln>
          </p:spPr>
          <p:txBody>
            <a:bodyPr/>
            <a:lstStyle/>
            <a:p>
              <a:endParaRPr lang="el-GR"/>
            </a:p>
          </p:txBody>
        </p:sp>
        <p:sp>
          <p:nvSpPr>
            <p:cNvPr id="220" name="Freeform 97"/>
            <p:cNvSpPr>
              <a:spLocks/>
            </p:cNvSpPr>
            <p:nvPr/>
          </p:nvSpPr>
          <p:spPr bwMode="auto">
            <a:xfrm>
              <a:off x="3328" y="2399"/>
              <a:ext cx="48" cy="42"/>
            </a:xfrm>
            <a:custGeom>
              <a:avLst/>
              <a:gdLst>
                <a:gd name="T0" fmla="*/ 7 w 204"/>
                <a:gd name="T1" fmla="*/ 0 h 177"/>
                <a:gd name="T2" fmla="*/ 7 w 204"/>
                <a:gd name="T3" fmla="*/ 2 h 177"/>
                <a:gd name="T4" fmla="*/ 8 w 204"/>
                <a:gd name="T5" fmla="*/ 2 h 177"/>
                <a:gd name="T6" fmla="*/ 8 w 204"/>
                <a:gd name="T7" fmla="*/ 4 h 177"/>
                <a:gd name="T8" fmla="*/ 10 w 204"/>
                <a:gd name="T9" fmla="*/ 2 h 177"/>
                <a:gd name="T10" fmla="*/ 11 w 204"/>
                <a:gd name="T11" fmla="*/ 4 h 177"/>
                <a:gd name="T12" fmla="*/ 10 w 204"/>
                <a:gd name="T13" fmla="*/ 5 h 177"/>
                <a:gd name="T14" fmla="*/ 8 w 204"/>
                <a:gd name="T15" fmla="*/ 5 h 177"/>
                <a:gd name="T16" fmla="*/ 6 w 204"/>
                <a:gd name="T17" fmla="*/ 7 h 177"/>
                <a:gd name="T18" fmla="*/ 6 w 204"/>
                <a:gd name="T19" fmla="*/ 9 h 177"/>
                <a:gd name="T20" fmla="*/ 5 w 204"/>
                <a:gd name="T21" fmla="*/ 7 h 177"/>
                <a:gd name="T22" fmla="*/ 3 w 204"/>
                <a:gd name="T23" fmla="*/ 9 h 177"/>
                <a:gd name="T24" fmla="*/ 2 w 204"/>
                <a:gd name="T25" fmla="*/ 8 h 177"/>
                <a:gd name="T26" fmla="*/ 0 w 204"/>
                <a:gd name="T27" fmla="*/ 10 h 177"/>
                <a:gd name="T28" fmla="*/ 0 w 204"/>
                <a:gd name="T29" fmla="*/ 8 h 177"/>
                <a:gd name="T30" fmla="*/ 0 w 204"/>
                <a:gd name="T31" fmla="*/ 7 h 177"/>
                <a:gd name="T32" fmla="*/ 0 w 204"/>
                <a:gd name="T33" fmla="*/ 5 h 177"/>
                <a:gd name="T34" fmla="*/ 0 w 204"/>
                <a:gd name="T35" fmla="*/ 7 h 177"/>
                <a:gd name="T36" fmla="*/ 0 w 204"/>
                <a:gd name="T37" fmla="*/ 5 h 177"/>
                <a:gd name="T38" fmla="*/ 2 w 204"/>
                <a:gd name="T39" fmla="*/ 5 h 177"/>
                <a:gd name="T40" fmla="*/ 0 w 204"/>
                <a:gd name="T41" fmla="*/ 3 h 177"/>
                <a:gd name="T42" fmla="*/ 0 w 204"/>
                <a:gd name="T43" fmla="*/ 0 h 177"/>
                <a:gd name="T44" fmla="*/ 2 w 204"/>
                <a:gd name="T45" fmla="*/ 0 h 177"/>
                <a:gd name="T46" fmla="*/ 4 w 204"/>
                <a:gd name="T47" fmla="*/ 0 h 177"/>
                <a:gd name="T48" fmla="*/ 4 w 204"/>
                <a:gd name="T49" fmla="*/ 2 h 177"/>
                <a:gd name="T50" fmla="*/ 5 w 204"/>
                <a:gd name="T51" fmla="*/ 4 h 177"/>
                <a:gd name="T52" fmla="*/ 5 w 204"/>
                <a:gd name="T53" fmla="*/ 2 h 177"/>
                <a:gd name="T54" fmla="*/ 5 w 204"/>
                <a:gd name="T55" fmla="*/ 0 h 177"/>
                <a:gd name="T56" fmla="*/ 7 w 204"/>
                <a:gd name="T57" fmla="*/ 0 h 1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4"/>
                <a:gd name="T88" fmla="*/ 0 h 177"/>
                <a:gd name="T89" fmla="*/ 204 w 204"/>
                <a:gd name="T90" fmla="*/ 177 h 17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4" h="177">
                  <a:moveTo>
                    <a:pt x="122" y="4"/>
                  </a:moveTo>
                  <a:lnTo>
                    <a:pt x="121" y="34"/>
                  </a:lnTo>
                  <a:lnTo>
                    <a:pt x="149" y="36"/>
                  </a:lnTo>
                  <a:lnTo>
                    <a:pt x="147" y="66"/>
                  </a:lnTo>
                  <a:lnTo>
                    <a:pt x="178" y="36"/>
                  </a:lnTo>
                  <a:lnTo>
                    <a:pt x="204" y="69"/>
                  </a:lnTo>
                  <a:lnTo>
                    <a:pt x="173" y="97"/>
                  </a:lnTo>
                  <a:lnTo>
                    <a:pt x="145" y="95"/>
                  </a:lnTo>
                  <a:lnTo>
                    <a:pt x="116" y="123"/>
                  </a:lnTo>
                  <a:lnTo>
                    <a:pt x="114" y="153"/>
                  </a:lnTo>
                  <a:lnTo>
                    <a:pt x="88" y="122"/>
                  </a:lnTo>
                  <a:lnTo>
                    <a:pt x="58" y="150"/>
                  </a:lnTo>
                  <a:lnTo>
                    <a:pt x="30" y="148"/>
                  </a:lnTo>
                  <a:lnTo>
                    <a:pt x="0" y="177"/>
                  </a:lnTo>
                  <a:lnTo>
                    <a:pt x="2" y="147"/>
                  </a:lnTo>
                  <a:lnTo>
                    <a:pt x="3" y="118"/>
                  </a:lnTo>
                  <a:lnTo>
                    <a:pt x="5" y="87"/>
                  </a:lnTo>
                  <a:lnTo>
                    <a:pt x="3" y="118"/>
                  </a:lnTo>
                  <a:lnTo>
                    <a:pt x="5" y="87"/>
                  </a:lnTo>
                  <a:lnTo>
                    <a:pt x="34" y="89"/>
                  </a:lnTo>
                  <a:lnTo>
                    <a:pt x="6" y="58"/>
                  </a:lnTo>
                  <a:lnTo>
                    <a:pt x="10" y="0"/>
                  </a:lnTo>
                  <a:lnTo>
                    <a:pt x="38" y="0"/>
                  </a:lnTo>
                  <a:lnTo>
                    <a:pt x="66" y="2"/>
                  </a:lnTo>
                  <a:lnTo>
                    <a:pt x="65" y="31"/>
                  </a:lnTo>
                  <a:lnTo>
                    <a:pt x="91" y="62"/>
                  </a:lnTo>
                  <a:lnTo>
                    <a:pt x="93" y="33"/>
                  </a:lnTo>
                  <a:lnTo>
                    <a:pt x="94" y="3"/>
                  </a:lnTo>
                  <a:lnTo>
                    <a:pt x="122" y="4"/>
                  </a:lnTo>
                  <a:close/>
                </a:path>
              </a:pathLst>
            </a:custGeom>
            <a:solidFill>
              <a:srgbClr val="B2C2D1"/>
            </a:solidFill>
            <a:ln w="9525">
              <a:noFill/>
              <a:round/>
              <a:headEnd/>
              <a:tailEnd/>
            </a:ln>
          </p:spPr>
          <p:txBody>
            <a:bodyPr/>
            <a:lstStyle/>
            <a:p>
              <a:endParaRPr lang="el-GR"/>
            </a:p>
          </p:txBody>
        </p:sp>
        <p:sp>
          <p:nvSpPr>
            <p:cNvPr id="221" name="Freeform 98"/>
            <p:cNvSpPr>
              <a:spLocks/>
            </p:cNvSpPr>
            <p:nvPr/>
          </p:nvSpPr>
          <p:spPr bwMode="auto">
            <a:xfrm>
              <a:off x="3328" y="2399"/>
              <a:ext cx="48" cy="42"/>
            </a:xfrm>
            <a:custGeom>
              <a:avLst/>
              <a:gdLst>
                <a:gd name="T0" fmla="*/ 7 w 204"/>
                <a:gd name="T1" fmla="*/ 0 h 177"/>
                <a:gd name="T2" fmla="*/ 7 w 204"/>
                <a:gd name="T3" fmla="*/ 2 h 177"/>
                <a:gd name="T4" fmla="*/ 8 w 204"/>
                <a:gd name="T5" fmla="*/ 2 h 177"/>
                <a:gd name="T6" fmla="*/ 8 w 204"/>
                <a:gd name="T7" fmla="*/ 4 h 177"/>
                <a:gd name="T8" fmla="*/ 10 w 204"/>
                <a:gd name="T9" fmla="*/ 2 h 177"/>
                <a:gd name="T10" fmla="*/ 11 w 204"/>
                <a:gd name="T11" fmla="*/ 4 h 177"/>
                <a:gd name="T12" fmla="*/ 10 w 204"/>
                <a:gd name="T13" fmla="*/ 5 h 177"/>
                <a:gd name="T14" fmla="*/ 8 w 204"/>
                <a:gd name="T15" fmla="*/ 5 h 177"/>
                <a:gd name="T16" fmla="*/ 6 w 204"/>
                <a:gd name="T17" fmla="*/ 7 h 177"/>
                <a:gd name="T18" fmla="*/ 6 w 204"/>
                <a:gd name="T19" fmla="*/ 9 h 177"/>
                <a:gd name="T20" fmla="*/ 5 w 204"/>
                <a:gd name="T21" fmla="*/ 7 h 177"/>
                <a:gd name="T22" fmla="*/ 3 w 204"/>
                <a:gd name="T23" fmla="*/ 9 h 177"/>
                <a:gd name="T24" fmla="*/ 2 w 204"/>
                <a:gd name="T25" fmla="*/ 8 h 177"/>
                <a:gd name="T26" fmla="*/ 0 w 204"/>
                <a:gd name="T27" fmla="*/ 10 h 177"/>
                <a:gd name="T28" fmla="*/ 0 w 204"/>
                <a:gd name="T29" fmla="*/ 8 h 177"/>
                <a:gd name="T30" fmla="*/ 0 w 204"/>
                <a:gd name="T31" fmla="*/ 7 h 177"/>
                <a:gd name="T32" fmla="*/ 0 w 204"/>
                <a:gd name="T33" fmla="*/ 5 h 177"/>
                <a:gd name="T34" fmla="*/ 0 w 204"/>
                <a:gd name="T35" fmla="*/ 7 h 177"/>
                <a:gd name="T36" fmla="*/ 0 w 204"/>
                <a:gd name="T37" fmla="*/ 5 h 177"/>
                <a:gd name="T38" fmla="*/ 2 w 204"/>
                <a:gd name="T39" fmla="*/ 5 h 177"/>
                <a:gd name="T40" fmla="*/ 0 w 204"/>
                <a:gd name="T41" fmla="*/ 3 h 177"/>
                <a:gd name="T42" fmla="*/ 0 w 204"/>
                <a:gd name="T43" fmla="*/ 0 h 177"/>
                <a:gd name="T44" fmla="*/ 2 w 204"/>
                <a:gd name="T45" fmla="*/ 0 h 177"/>
                <a:gd name="T46" fmla="*/ 4 w 204"/>
                <a:gd name="T47" fmla="*/ 0 h 177"/>
                <a:gd name="T48" fmla="*/ 4 w 204"/>
                <a:gd name="T49" fmla="*/ 2 h 177"/>
                <a:gd name="T50" fmla="*/ 5 w 204"/>
                <a:gd name="T51" fmla="*/ 4 h 177"/>
                <a:gd name="T52" fmla="*/ 5 w 204"/>
                <a:gd name="T53" fmla="*/ 2 h 177"/>
                <a:gd name="T54" fmla="*/ 5 w 204"/>
                <a:gd name="T55" fmla="*/ 0 h 177"/>
                <a:gd name="T56" fmla="*/ 7 w 204"/>
                <a:gd name="T57" fmla="*/ 0 h 17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04"/>
                <a:gd name="T88" fmla="*/ 0 h 177"/>
                <a:gd name="T89" fmla="*/ 204 w 204"/>
                <a:gd name="T90" fmla="*/ 177 h 17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04" h="177">
                  <a:moveTo>
                    <a:pt x="122" y="4"/>
                  </a:moveTo>
                  <a:lnTo>
                    <a:pt x="121" y="34"/>
                  </a:lnTo>
                  <a:lnTo>
                    <a:pt x="149" y="36"/>
                  </a:lnTo>
                  <a:lnTo>
                    <a:pt x="147" y="66"/>
                  </a:lnTo>
                  <a:lnTo>
                    <a:pt x="178" y="36"/>
                  </a:lnTo>
                  <a:lnTo>
                    <a:pt x="204" y="69"/>
                  </a:lnTo>
                  <a:lnTo>
                    <a:pt x="173" y="97"/>
                  </a:lnTo>
                  <a:lnTo>
                    <a:pt x="145" y="95"/>
                  </a:lnTo>
                  <a:lnTo>
                    <a:pt x="116" y="123"/>
                  </a:lnTo>
                  <a:lnTo>
                    <a:pt x="114" y="153"/>
                  </a:lnTo>
                  <a:lnTo>
                    <a:pt x="88" y="122"/>
                  </a:lnTo>
                  <a:lnTo>
                    <a:pt x="58" y="150"/>
                  </a:lnTo>
                  <a:lnTo>
                    <a:pt x="30" y="148"/>
                  </a:lnTo>
                  <a:lnTo>
                    <a:pt x="0" y="177"/>
                  </a:lnTo>
                  <a:lnTo>
                    <a:pt x="2" y="147"/>
                  </a:lnTo>
                  <a:lnTo>
                    <a:pt x="3" y="118"/>
                  </a:lnTo>
                  <a:lnTo>
                    <a:pt x="5" y="87"/>
                  </a:lnTo>
                  <a:lnTo>
                    <a:pt x="3" y="118"/>
                  </a:lnTo>
                  <a:lnTo>
                    <a:pt x="5" y="87"/>
                  </a:lnTo>
                  <a:lnTo>
                    <a:pt x="34" y="89"/>
                  </a:lnTo>
                  <a:lnTo>
                    <a:pt x="6" y="58"/>
                  </a:lnTo>
                  <a:lnTo>
                    <a:pt x="10" y="0"/>
                  </a:lnTo>
                  <a:lnTo>
                    <a:pt x="38" y="0"/>
                  </a:lnTo>
                  <a:lnTo>
                    <a:pt x="66" y="2"/>
                  </a:lnTo>
                  <a:lnTo>
                    <a:pt x="65" y="31"/>
                  </a:lnTo>
                  <a:lnTo>
                    <a:pt x="91" y="62"/>
                  </a:lnTo>
                  <a:lnTo>
                    <a:pt x="93" y="33"/>
                  </a:lnTo>
                  <a:lnTo>
                    <a:pt x="94" y="3"/>
                  </a:lnTo>
                  <a:lnTo>
                    <a:pt x="122" y="4"/>
                  </a:lnTo>
                </a:path>
              </a:pathLst>
            </a:custGeom>
            <a:solidFill>
              <a:srgbClr val="B2C2D1"/>
            </a:solidFill>
            <a:ln w="9525">
              <a:noFill/>
              <a:round/>
              <a:headEnd/>
              <a:tailEnd/>
            </a:ln>
          </p:spPr>
          <p:txBody>
            <a:bodyPr/>
            <a:lstStyle/>
            <a:p>
              <a:endParaRPr lang="el-GR"/>
            </a:p>
          </p:txBody>
        </p:sp>
        <p:sp>
          <p:nvSpPr>
            <p:cNvPr id="222" name="Freeform 99"/>
            <p:cNvSpPr>
              <a:spLocks/>
            </p:cNvSpPr>
            <p:nvPr/>
          </p:nvSpPr>
          <p:spPr bwMode="auto">
            <a:xfrm>
              <a:off x="3142" y="2555"/>
              <a:ext cx="38" cy="57"/>
            </a:xfrm>
            <a:custGeom>
              <a:avLst/>
              <a:gdLst>
                <a:gd name="T0" fmla="*/ 6 w 160"/>
                <a:gd name="T1" fmla="*/ 2 h 238"/>
                <a:gd name="T2" fmla="*/ 8 w 160"/>
                <a:gd name="T3" fmla="*/ 6 h 238"/>
                <a:gd name="T4" fmla="*/ 9 w 160"/>
                <a:gd name="T5" fmla="*/ 9 h 238"/>
                <a:gd name="T6" fmla="*/ 7 w 160"/>
                <a:gd name="T7" fmla="*/ 10 h 238"/>
                <a:gd name="T8" fmla="*/ 6 w 160"/>
                <a:gd name="T9" fmla="*/ 10 h 238"/>
                <a:gd name="T10" fmla="*/ 6 w 160"/>
                <a:gd name="T11" fmla="*/ 12 h 238"/>
                <a:gd name="T12" fmla="*/ 6 w 160"/>
                <a:gd name="T13" fmla="*/ 14 h 238"/>
                <a:gd name="T14" fmla="*/ 3 w 160"/>
                <a:gd name="T15" fmla="*/ 10 h 238"/>
                <a:gd name="T16" fmla="*/ 3 w 160"/>
                <a:gd name="T17" fmla="*/ 8 h 238"/>
                <a:gd name="T18" fmla="*/ 3 w 160"/>
                <a:gd name="T19" fmla="*/ 7 h 238"/>
                <a:gd name="T20" fmla="*/ 1 w 160"/>
                <a:gd name="T21" fmla="*/ 7 h 238"/>
                <a:gd name="T22" fmla="*/ 1 w 160"/>
                <a:gd name="T23" fmla="*/ 5 h 238"/>
                <a:gd name="T24" fmla="*/ 3 w 160"/>
                <a:gd name="T25" fmla="*/ 5 h 238"/>
                <a:gd name="T26" fmla="*/ 1 w 160"/>
                <a:gd name="T27" fmla="*/ 3 h 238"/>
                <a:gd name="T28" fmla="*/ 1 w 160"/>
                <a:gd name="T29" fmla="*/ 2 h 238"/>
                <a:gd name="T30" fmla="*/ 0 w 160"/>
                <a:gd name="T31" fmla="*/ 0 h 238"/>
                <a:gd name="T32" fmla="*/ 3 w 160"/>
                <a:gd name="T33" fmla="*/ 2 h 238"/>
                <a:gd name="T34" fmla="*/ 6 w 160"/>
                <a:gd name="T35" fmla="*/ 2 h 2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238"/>
                <a:gd name="T56" fmla="*/ 160 w 160"/>
                <a:gd name="T57" fmla="*/ 238 h 2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238">
                  <a:moveTo>
                    <a:pt x="111" y="35"/>
                  </a:moveTo>
                  <a:lnTo>
                    <a:pt x="136" y="95"/>
                  </a:lnTo>
                  <a:lnTo>
                    <a:pt x="160" y="153"/>
                  </a:lnTo>
                  <a:lnTo>
                    <a:pt x="130" y="181"/>
                  </a:lnTo>
                  <a:lnTo>
                    <a:pt x="103" y="180"/>
                  </a:lnTo>
                  <a:lnTo>
                    <a:pt x="102" y="209"/>
                  </a:lnTo>
                  <a:lnTo>
                    <a:pt x="100" y="238"/>
                  </a:lnTo>
                  <a:lnTo>
                    <a:pt x="48" y="177"/>
                  </a:lnTo>
                  <a:lnTo>
                    <a:pt x="49" y="148"/>
                  </a:lnTo>
                  <a:lnTo>
                    <a:pt x="50" y="119"/>
                  </a:lnTo>
                  <a:lnTo>
                    <a:pt x="23" y="118"/>
                  </a:lnTo>
                  <a:lnTo>
                    <a:pt x="24" y="88"/>
                  </a:lnTo>
                  <a:lnTo>
                    <a:pt x="52" y="91"/>
                  </a:lnTo>
                  <a:lnTo>
                    <a:pt x="26" y="59"/>
                  </a:lnTo>
                  <a:lnTo>
                    <a:pt x="27" y="31"/>
                  </a:lnTo>
                  <a:lnTo>
                    <a:pt x="0" y="0"/>
                  </a:lnTo>
                  <a:lnTo>
                    <a:pt x="54" y="32"/>
                  </a:lnTo>
                  <a:lnTo>
                    <a:pt x="111" y="35"/>
                  </a:lnTo>
                  <a:close/>
                </a:path>
              </a:pathLst>
            </a:custGeom>
            <a:solidFill>
              <a:srgbClr val="B2C2D1"/>
            </a:solidFill>
            <a:ln w="9525">
              <a:noFill/>
              <a:round/>
              <a:headEnd/>
              <a:tailEnd/>
            </a:ln>
          </p:spPr>
          <p:txBody>
            <a:bodyPr/>
            <a:lstStyle/>
            <a:p>
              <a:endParaRPr lang="el-GR"/>
            </a:p>
          </p:txBody>
        </p:sp>
        <p:sp>
          <p:nvSpPr>
            <p:cNvPr id="223" name="Freeform 100"/>
            <p:cNvSpPr>
              <a:spLocks/>
            </p:cNvSpPr>
            <p:nvPr/>
          </p:nvSpPr>
          <p:spPr bwMode="auto">
            <a:xfrm>
              <a:off x="3142" y="2555"/>
              <a:ext cx="38" cy="57"/>
            </a:xfrm>
            <a:custGeom>
              <a:avLst/>
              <a:gdLst>
                <a:gd name="T0" fmla="*/ 6 w 160"/>
                <a:gd name="T1" fmla="*/ 2 h 238"/>
                <a:gd name="T2" fmla="*/ 8 w 160"/>
                <a:gd name="T3" fmla="*/ 6 h 238"/>
                <a:gd name="T4" fmla="*/ 9 w 160"/>
                <a:gd name="T5" fmla="*/ 9 h 238"/>
                <a:gd name="T6" fmla="*/ 7 w 160"/>
                <a:gd name="T7" fmla="*/ 10 h 238"/>
                <a:gd name="T8" fmla="*/ 6 w 160"/>
                <a:gd name="T9" fmla="*/ 10 h 238"/>
                <a:gd name="T10" fmla="*/ 6 w 160"/>
                <a:gd name="T11" fmla="*/ 12 h 238"/>
                <a:gd name="T12" fmla="*/ 6 w 160"/>
                <a:gd name="T13" fmla="*/ 14 h 238"/>
                <a:gd name="T14" fmla="*/ 3 w 160"/>
                <a:gd name="T15" fmla="*/ 10 h 238"/>
                <a:gd name="T16" fmla="*/ 3 w 160"/>
                <a:gd name="T17" fmla="*/ 8 h 238"/>
                <a:gd name="T18" fmla="*/ 3 w 160"/>
                <a:gd name="T19" fmla="*/ 7 h 238"/>
                <a:gd name="T20" fmla="*/ 1 w 160"/>
                <a:gd name="T21" fmla="*/ 7 h 238"/>
                <a:gd name="T22" fmla="*/ 1 w 160"/>
                <a:gd name="T23" fmla="*/ 5 h 238"/>
                <a:gd name="T24" fmla="*/ 3 w 160"/>
                <a:gd name="T25" fmla="*/ 5 h 238"/>
                <a:gd name="T26" fmla="*/ 1 w 160"/>
                <a:gd name="T27" fmla="*/ 3 h 238"/>
                <a:gd name="T28" fmla="*/ 1 w 160"/>
                <a:gd name="T29" fmla="*/ 2 h 238"/>
                <a:gd name="T30" fmla="*/ 0 w 160"/>
                <a:gd name="T31" fmla="*/ 0 h 238"/>
                <a:gd name="T32" fmla="*/ 3 w 160"/>
                <a:gd name="T33" fmla="*/ 2 h 238"/>
                <a:gd name="T34" fmla="*/ 6 w 160"/>
                <a:gd name="T35" fmla="*/ 2 h 23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60"/>
                <a:gd name="T55" fmla="*/ 0 h 238"/>
                <a:gd name="T56" fmla="*/ 160 w 160"/>
                <a:gd name="T57" fmla="*/ 238 h 23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60" h="238">
                  <a:moveTo>
                    <a:pt x="111" y="35"/>
                  </a:moveTo>
                  <a:lnTo>
                    <a:pt x="136" y="95"/>
                  </a:lnTo>
                  <a:lnTo>
                    <a:pt x="160" y="153"/>
                  </a:lnTo>
                  <a:lnTo>
                    <a:pt x="130" y="181"/>
                  </a:lnTo>
                  <a:lnTo>
                    <a:pt x="103" y="180"/>
                  </a:lnTo>
                  <a:lnTo>
                    <a:pt x="102" y="209"/>
                  </a:lnTo>
                  <a:lnTo>
                    <a:pt x="100" y="238"/>
                  </a:lnTo>
                  <a:lnTo>
                    <a:pt x="48" y="177"/>
                  </a:lnTo>
                  <a:lnTo>
                    <a:pt x="49" y="148"/>
                  </a:lnTo>
                  <a:lnTo>
                    <a:pt x="50" y="119"/>
                  </a:lnTo>
                  <a:lnTo>
                    <a:pt x="23" y="118"/>
                  </a:lnTo>
                  <a:lnTo>
                    <a:pt x="24" y="88"/>
                  </a:lnTo>
                  <a:lnTo>
                    <a:pt x="52" y="91"/>
                  </a:lnTo>
                  <a:lnTo>
                    <a:pt x="26" y="59"/>
                  </a:lnTo>
                  <a:lnTo>
                    <a:pt x="27" y="31"/>
                  </a:lnTo>
                  <a:lnTo>
                    <a:pt x="0" y="0"/>
                  </a:lnTo>
                  <a:lnTo>
                    <a:pt x="54" y="32"/>
                  </a:lnTo>
                  <a:lnTo>
                    <a:pt x="111" y="35"/>
                  </a:lnTo>
                </a:path>
              </a:pathLst>
            </a:custGeom>
            <a:solidFill>
              <a:srgbClr val="B2C2D1"/>
            </a:solidFill>
            <a:ln w="9525">
              <a:noFill/>
              <a:round/>
              <a:headEnd/>
              <a:tailEnd/>
            </a:ln>
          </p:spPr>
          <p:txBody>
            <a:bodyPr/>
            <a:lstStyle/>
            <a:p>
              <a:endParaRPr lang="el-GR"/>
            </a:p>
          </p:txBody>
        </p:sp>
        <p:sp>
          <p:nvSpPr>
            <p:cNvPr id="224" name="Freeform 101"/>
            <p:cNvSpPr>
              <a:spLocks/>
            </p:cNvSpPr>
            <p:nvPr/>
          </p:nvSpPr>
          <p:spPr bwMode="auto">
            <a:xfrm>
              <a:off x="3361" y="2792"/>
              <a:ext cx="34" cy="62"/>
            </a:xfrm>
            <a:custGeom>
              <a:avLst/>
              <a:gdLst>
                <a:gd name="T0" fmla="*/ 1 w 144"/>
                <a:gd name="T1" fmla="*/ 13 h 266"/>
                <a:gd name="T2" fmla="*/ 1 w 144"/>
                <a:gd name="T3" fmla="*/ 13 h 266"/>
                <a:gd name="T4" fmla="*/ 3 w 144"/>
                <a:gd name="T5" fmla="*/ 13 h 266"/>
                <a:gd name="T6" fmla="*/ 4 w 144"/>
                <a:gd name="T7" fmla="*/ 14 h 266"/>
                <a:gd name="T8" fmla="*/ 8 w 144"/>
                <a:gd name="T9" fmla="*/ 10 h 266"/>
                <a:gd name="T10" fmla="*/ 7 w 144"/>
                <a:gd name="T11" fmla="*/ 8 h 266"/>
                <a:gd name="T12" fmla="*/ 7 w 144"/>
                <a:gd name="T13" fmla="*/ 7 h 266"/>
                <a:gd name="T14" fmla="*/ 7 w 144"/>
                <a:gd name="T15" fmla="*/ 5 h 266"/>
                <a:gd name="T16" fmla="*/ 5 w 144"/>
                <a:gd name="T17" fmla="*/ 3 h 266"/>
                <a:gd name="T18" fmla="*/ 4 w 144"/>
                <a:gd name="T19" fmla="*/ 2 h 266"/>
                <a:gd name="T20" fmla="*/ 1 w 144"/>
                <a:gd name="T21" fmla="*/ 0 h 266"/>
                <a:gd name="T22" fmla="*/ 0 w 144"/>
                <a:gd name="T23" fmla="*/ 2 h 266"/>
                <a:gd name="T24" fmla="*/ 0 w 144"/>
                <a:gd name="T25" fmla="*/ 3 h 266"/>
                <a:gd name="T26" fmla="*/ 2 w 144"/>
                <a:gd name="T27" fmla="*/ 3 h 266"/>
                <a:gd name="T28" fmla="*/ 4 w 144"/>
                <a:gd name="T29" fmla="*/ 5 h 266"/>
                <a:gd name="T30" fmla="*/ 3 w 144"/>
                <a:gd name="T31" fmla="*/ 8 h 266"/>
                <a:gd name="T32" fmla="*/ 3 w 144"/>
                <a:gd name="T33" fmla="*/ 10 h 266"/>
                <a:gd name="T34" fmla="*/ 2 w 144"/>
                <a:gd name="T35" fmla="*/ 11 h 266"/>
                <a:gd name="T36" fmla="*/ 0 w 144"/>
                <a:gd name="T37" fmla="*/ 11 h 266"/>
                <a:gd name="T38" fmla="*/ 1 w 144"/>
                <a:gd name="T39" fmla="*/ 13 h 2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266"/>
                <a:gd name="T62" fmla="*/ 144 w 144"/>
                <a:gd name="T63" fmla="*/ 266 h 2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266">
                  <a:moveTo>
                    <a:pt x="27" y="234"/>
                  </a:moveTo>
                  <a:lnTo>
                    <a:pt x="27" y="234"/>
                  </a:lnTo>
                  <a:lnTo>
                    <a:pt x="55" y="235"/>
                  </a:lnTo>
                  <a:lnTo>
                    <a:pt x="82" y="266"/>
                  </a:lnTo>
                  <a:lnTo>
                    <a:pt x="144" y="182"/>
                  </a:lnTo>
                  <a:lnTo>
                    <a:pt x="117" y="152"/>
                  </a:lnTo>
                  <a:lnTo>
                    <a:pt x="119" y="122"/>
                  </a:lnTo>
                  <a:lnTo>
                    <a:pt x="120" y="94"/>
                  </a:lnTo>
                  <a:lnTo>
                    <a:pt x="94" y="63"/>
                  </a:lnTo>
                  <a:lnTo>
                    <a:pt x="67" y="33"/>
                  </a:lnTo>
                  <a:lnTo>
                    <a:pt x="12" y="0"/>
                  </a:lnTo>
                  <a:lnTo>
                    <a:pt x="9" y="30"/>
                  </a:lnTo>
                  <a:lnTo>
                    <a:pt x="8" y="59"/>
                  </a:lnTo>
                  <a:lnTo>
                    <a:pt x="37" y="60"/>
                  </a:lnTo>
                  <a:lnTo>
                    <a:pt x="64" y="91"/>
                  </a:lnTo>
                  <a:lnTo>
                    <a:pt x="60" y="148"/>
                  </a:lnTo>
                  <a:lnTo>
                    <a:pt x="58" y="178"/>
                  </a:lnTo>
                  <a:lnTo>
                    <a:pt x="28" y="205"/>
                  </a:lnTo>
                  <a:lnTo>
                    <a:pt x="0" y="204"/>
                  </a:lnTo>
                  <a:lnTo>
                    <a:pt x="27" y="234"/>
                  </a:lnTo>
                  <a:close/>
                </a:path>
              </a:pathLst>
            </a:custGeom>
            <a:solidFill>
              <a:srgbClr val="B2C2D1"/>
            </a:solidFill>
            <a:ln w="9525">
              <a:noFill/>
              <a:round/>
              <a:headEnd/>
              <a:tailEnd/>
            </a:ln>
          </p:spPr>
          <p:txBody>
            <a:bodyPr/>
            <a:lstStyle/>
            <a:p>
              <a:endParaRPr lang="el-GR"/>
            </a:p>
          </p:txBody>
        </p:sp>
        <p:sp>
          <p:nvSpPr>
            <p:cNvPr id="225" name="Freeform 102"/>
            <p:cNvSpPr>
              <a:spLocks/>
            </p:cNvSpPr>
            <p:nvPr/>
          </p:nvSpPr>
          <p:spPr bwMode="auto">
            <a:xfrm>
              <a:off x="3361" y="2792"/>
              <a:ext cx="34" cy="62"/>
            </a:xfrm>
            <a:custGeom>
              <a:avLst/>
              <a:gdLst>
                <a:gd name="T0" fmla="*/ 1 w 144"/>
                <a:gd name="T1" fmla="*/ 13 h 266"/>
                <a:gd name="T2" fmla="*/ 1 w 144"/>
                <a:gd name="T3" fmla="*/ 13 h 266"/>
                <a:gd name="T4" fmla="*/ 3 w 144"/>
                <a:gd name="T5" fmla="*/ 13 h 266"/>
                <a:gd name="T6" fmla="*/ 4 w 144"/>
                <a:gd name="T7" fmla="*/ 14 h 266"/>
                <a:gd name="T8" fmla="*/ 8 w 144"/>
                <a:gd name="T9" fmla="*/ 10 h 266"/>
                <a:gd name="T10" fmla="*/ 7 w 144"/>
                <a:gd name="T11" fmla="*/ 8 h 266"/>
                <a:gd name="T12" fmla="*/ 7 w 144"/>
                <a:gd name="T13" fmla="*/ 7 h 266"/>
                <a:gd name="T14" fmla="*/ 7 w 144"/>
                <a:gd name="T15" fmla="*/ 5 h 266"/>
                <a:gd name="T16" fmla="*/ 5 w 144"/>
                <a:gd name="T17" fmla="*/ 3 h 266"/>
                <a:gd name="T18" fmla="*/ 4 w 144"/>
                <a:gd name="T19" fmla="*/ 2 h 266"/>
                <a:gd name="T20" fmla="*/ 1 w 144"/>
                <a:gd name="T21" fmla="*/ 0 h 266"/>
                <a:gd name="T22" fmla="*/ 0 w 144"/>
                <a:gd name="T23" fmla="*/ 2 h 266"/>
                <a:gd name="T24" fmla="*/ 0 w 144"/>
                <a:gd name="T25" fmla="*/ 3 h 266"/>
                <a:gd name="T26" fmla="*/ 2 w 144"/>
                <a:gd name="T27" fmla="*/ 3 h 266"/>
                <a:gd name="T28" fmla="*/ 4 w 144"/>
                <a:gd name="T29" fmla="*/ 5 h 266"/>
                <a:gd name="T30" fmla="*/ 3 w 144"/>
                <a:gd name="T31" fmla="*/ 8 h 266"/>
                <a:gd name="T32" fmla="*/ 3 w 144"/>
                <a:gd name="T33" fmla="*/ 10 h 266"/>
                <a:gd name="T34" fmla="*/ 2 w 144"/>
                <a:gd name="T35" fmla="*/ 11 h 266"/>
                <a:gd name="T36" fmla="*/ 0 w 144"/>
                <a:gd name="T37" fmla="*/ 11 h 266"/>
                <a:gd name="T38" fmla="*/ 1 w 144"/>
                <a:gd name="T39" fmla="*/ 13 h 2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266"/>
                <a:gd name="T62" fmla="*/ 144 w 144"/>
                <a:gd name="T63" fmla="*/ 266 h 2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266">
                  <a:moveTo>
                    <a:pt x="27" y="234"/>
                  </a:moveTo>
                  <a:lnTo>
                    <a:pt x="27" y="234"/>
                  </a:lnTo>
                  <a:lnTo>
                    <a:pt x="55" y="235"/>
                  </a:lnTo>
                  <a:lnTo>
                    <a:pt x="82" y="266"/>
                  </a:lnTo>
                  <a:lnTo>
                    <a:pt x="144" y="182"/>
                  </a:lnTo>
                  <a:lnTo>
                    <a:pt x="117" y="152"/>
                  </a:lnTo>
                  <a:lnTo>
                    <a:pt x="119" y="122"/>
                  </a:lnTo>
                  <a:lnTo>
                    <a:pt x="120" y="94"/>
                  </a:lnTo>
                  <a:lnTo>
                    <a:pt x="94" y="63"/>
                  </a:lnTo>
                  <a:lnTo>
                    <a:pt x="67" y="33"/>
                  </a:lnTo>
                  <a:lnTo>
                    <a:pt x="12" y="0"/>
                  </a:lnTo>
                  <a:lnTo>
                    <a:pt x="9" y="30"/>
                  </a:lnTo>
                  <a:lnTo>
                    <a:pt x="8" y="59"/>
                  </a:lnTo>
                  <a:lnTo>
                    <a:pt x="37" y="60"/>
                  </a:lnTo>
                  <a:lnTo>
                    <a:pt x="64" y="91"/>
                  </a:lnTo>
                  <a:lnTo>
                    <a:pt x="60" y="148"/>
                  </a:lnTo>
                  <a:lnTo>
                    <a:pt x="58" y="178"/>
                  </a:lnTo>
                  <a:lnTo>
                    <a:pt x="28" y="205"/>
                  </a:lnTo>
                  <a:lnTo>
                    <a:pt x="0" y="204"/>
                  </a:lnTo>
                  <a:lnTo>
                    <a:pt x="27" y="234"/>
                  </a:lnTo>
                </a:path>
              </a:pathLst>
            </a:custGeom>
            <a:solidFill>
              <a:srgbClr val="B2C2D1"/>
            </a:solidFill>
            <a:ln w="9525">
              <a:noFill/>
              <a:round/>
              <a:headEnd/>
              <a:tailEnd/>
            </a:ln>
          </p:spPr>
          <p:txBody>
            <a:bodyPr/>
            <a:lstStyle/>
            <a:p>
              <a:endParaRPr lang="el-GR"/>
            </a:p>
          </p:txBody>
        </p:sp>
        <p:sp>
          <p:nvSpPr>
            <p:cNvPr id="226" name="Freeform 103"/>
            <p:cNvSpPr>
              <a:spLocks/>
            </p:cNvSpPr>
            <p:nvPr/>
          </p:nvSpPr>
          <p:spPr bwMode="auto">
            <a:xfrm>
              <a:off x="3090" y="2491"/>
              <a:ext cx="35" cy="42"/>
            </a:xfrm>
            <a:custGeom>
              <a:avLst/>
              <a:gdLst>
                <a:gd name="T0" fmla="*/ 2 w 149"/>
                <a:gd name="T1" fmla="*/ 3 h 177"/>
                <a:gd name="T2" fmla="*/ 4 w 149"/>
                <a:gd name="T3" fmla="*/ 2 h 177"/>
                <a:gd name="T4" fmla="*/ 5 w 149"/>
                <a:gd name="T5" fmla="*/ 2 h 177"/>
                <a:gd name="T6" fmla="*/ 5 w 149"/>
                <a:gd name="T7" fmla="*/ 0 h 177"/>
                <a:gd name="T8" fmla="*/ 7 w 149"/>
                <a:gd name="T9" fmla="*/ 0 h 177"/>
                <a:gd name="T10" fmla="*/ 8 w 149"/>
                <a:gd name="T11" fmla="*/ 2 h 177"/>
                <a:gd name="T12" fmla="*/ 8 w 149"/>
                <a:gd name="T13" fmla="*/ 4 h 177"/>
                <a:gd name="T14" fmla="*/ 8 w 149"/>
                <a:gd name="T15" fmla="*/ 5 h 177"/>
                <a:gd name="T16" fmla="*/ 8 w 149"/>
                <a:gd name="T17" fmla="*/ 7 h 177"/>
                <a:gd name="T18" fmla="*/ 6 w 149"/>
                <a:gd name="T19" fmla="*/ 5 h 177"/>
                <a:gd name="T20" fmla="*/ 8 w 149"/>
                <a:gd name="T21" fmla="*/ 9 h 177"/>
                <a:gd name="T22" fmla="*/ 5 w 149"/>
                <a:gd name="T23" fmla="*/ 10 h 177"/>
                <a:gd name="T24" fmla="*/ 6 w 149"/>
                <a:gd name="T25" fmla="*/ 8 h 177"/>
                <a:gd name="T26" fmla="*/ 5 w 149"/>
                <a:gd name="T27" fmla="*/ 8 h 177"/>
                <a:gd name="T28" fmla="*/ 3 w 149"/>
                <a:gd name="T29" fmla="*/ 7 h 177"/>
                <a:gd name="T30" fmla="*/ 3 w 149"/>
                <a:gd name="T31" fmla="*/ 8 h 177"/>
                <a:gd name="T32" fmla="*/ 0 w 149"/>
                <a:gd name="T33" fmla="*/ 8 h 177"/>
                <a:gd name="T34" fmla="*/ 2 w 149"/>
                <a:gd name="T35" fmla="*/ 7 h 177"/>
                <a:gd name="T36" fmla="*/ 2 w 149"/>
                <a:gd name="T37" fmla="*/ 5 h 177"/>
                <a:gd name="T38" fmla="*/ 2 w 149"/>
                <a:gd name="T39" fmla="*/ 3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177"/>
                <a:gd name="T62" fmla="*/ 149 w 149"/>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177">
                  <a:moveTo>
                    <a:pt x="33" y="56"/>
                  </a:moveTo>
                  <a:lnTo>
                    <a:pt x="63" y="28"/>
                  </a:lnTo>
                  <a:lnTo>
                    <a:pt x="91" y="29"/>
                  </a:lnTo>
                  <a:lnTo>
                    <a:pt x="94" y="0"/>
                  </a:lnTo>
                  <a:lnTo>
                    <a:pt x="122" y="1"/>
                  </a:lnTo>
                  <a:lnTo>
                    <a:pt x="149" y="32"/>
                  </a:lnTo>
                  <a:lnTo>
                    <a:pt x="147" y="62"/>
                  </a:lnTo>
                  <a:lnTo>
                    <a:pt x="146" y="92"/>
                  </a:lnTo>
                  <a:lnTo>
                    <a:pt x="143" y="121"/>
                  </a:lnTo>
                  <a:lnTo>
                    <a:pt x="117" y="90"/>
                  </a:lnTo>
                  <a:lnTo>
                    <a:pt x="142" y="150"/>
                  </a:lnTo>
                  <a:lnTo>
                    <a:pt x="84" y="177"/>
                  </a:lnTo>
                  <a:lnTo>
                    <a:pt x="114" y="149"/>
                  </a:lnTo>
                  <a:lnTo>
                    <a:pt x="86" y="147"/>
                  </a:lnTo>
                  <a:lnTo>
                    <a:pt x="59" y="117"/>
                  </a:lnTo>
                  <a:lnTo>
                    <a:pt x="57" y="146"/>
                  </a:lnTo>
                  <a:lnTo>
                    <a:pt x="0" y="143"/>
                  </a:lnTo>
                  <a:lnTo>
                    <a:pt x="31" y="116"/>
                  </a:lnTo>
                  <a:lnTo>
                    <a:pt x="32" y="85"/>
                  </a:lnTo>
                  <a:lnTo>
                    <a:pt x="33" y="56"/>
                  </a:lnTo>
                  <a:close/>
                </a:path>
              </a:pathLst>
            </a:custGeom>
            <a:solidFill>
              <a:srgbClr val="B2C2D1"/>
            </a:solidFill>
            <a:ln w="9525">
              <a:noFill/>
              <a:round/>
              <a:headEnd/>
              <a:tailEnd/>
            </a:ln>
          </p:spPr>
          <p:txBody>
            <a:bodyPr/>
            <a:lstStyle/>
            <a:p>
              <a:endParaRPr lang="el-GR"/>
            </a:p>
          </p:txBody>
        </p:sp>
        <p:sp>
          <p:nvSpPr>
            <p:cNvPr id="227" name="Freeform 104"/>
            <p:cNvSpPr>
              <a:spLocks/>
            </p:cNvSpPr>
            <p:nvPr/>
          </p:nvSpPr>
          <p:spPr bwMode="auto">
            <a:xfrm>
              <a:off x="3090" y="2491"/>
              <a:ext cx="35" cy="42"/>
            </a:xfrm>
            <a:custGeom>
              <a:avLst/>
              <a:gdLst>
                <a:gd name="T0" fmla="*/ 2 w 149"/>
                <a:gd name="T1" fmla="*/ 3 h 177"/>
                <a:gd name="T2" fmla="*/ 4 w 149"/>
                <a:gd name="T3" fmla="*/ 2 h 177"/>
                <a:gd name="T4" fmla="*/ 5 w 149"/>
                <a:gd name="T5" fmla="*/ 2 h 177"/>
                <a:gd name="T6" fmla="*/ 5 w 149"/>
                <a:gd name="T7" fmla="*/ 0 h 177"/>
                <a:gd name="T8" fmla="*/ 7 w 149"/>
                <a:gd name="T9" fmla="*/ 0 h 177"/>
                <a:gd name="T10" fmla="*/ 8 w 149"/>
                <a:gd name="T11" fmla="*/ 2 h 177"/>
                <a:gd name="T12" fmla="*/ 8 w 149"/>
                <a:gd name="T13" fmla="*/ 4 h 177"/>
                <a:gd name="T14" fmla="*/ 8 w 149"/>
                <a:gd name="T15" fmla="*/ 5 h 177"/>
                <a:gd name="T16" fmla="*/ 8 w 149"/>
                <a:gd name="T17" fmla="*/ 7 h 177"/>
                <a:gd name="T18" fmla="*/ 6 w 149"/>
                <a:gd name="T19" fmla="*/ 5 h 177"/>
                <a:gd name="T20" fmla="*/ 8 w 149"/>
                <a:gd name="T21" fmla="*/ 9 h 177"/>
                <a:gd name="T22" fmla="*/ 5 w 149"/>
                <a:gd name="T23" fmla="*/ 10 h 177"/>
                <a:gd name="T24" fmla="*/ 6 w 149"/>
                <a:gd name="T25" fmla="*/ 8 h 177"/>
                <a:gd name="T26" fmla="*/ 5 w 149"/>
                <a:gd name="T27" fmla="*/ 8 h 177"/>
                <a:gd name="T28" fmla="*/ 3 w 149"/>
                <a:gd name="T29" fmla="*/ 7 h 177"/>
                <a:gd name="T30" fmla="*/ 3 w 149"/>
                <a:gd name="T31" fmla="*/ 8 h 177"/>
                <a:gd name="T32" fmla="*/ 0 w 149"/>
                <a:gd name="T33" fmla="*/ 8 h 177"/>
                <a:gd name="T34" fmla="*/ 2 w 149"/>
                <a:gd name="T35" fmla="*/ 7 h 177"/>
                <a:gd name="T36" fmla="*/ 2 w 149"/>
                <a:gd name="T37" fmla="*/ 5 h 177"/>
                <a:gd name="T38" fmla="*/ 2 w 149"/>
                <a:gd name="T39" fmla="*/ 3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9"/>
                <a:gd name="T61" fmla="*/ 0 h 177"/>
                <a:gd name="T62" fmla="*/ 149 w 149"/>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9" h="177">
                  <a:moveTo>
                    <a:pt x="33" y="56"/>
                  </a:moveTo>
                  <a:lnTo>
                    <a:pt x="63" y="28"/>
                  </a:lnTo>
                  <a:lnTo>
                    <a:pt x="91" y="29"/>
                  </a:lnTo>
                  <a:lnTo>
                    <a:pt x="94" y="0"/>
                  </a:lnTo>
                  <a:lnTo>
                    <a:pt x="122" y="1"/>
                  </a:lnTo>
                  <a:lnTo>
                    <a:pt x="149" y="32"/>
                  </a:lnTo>
                  <a:lnTo>
                    <a:pt x="147" y="62"/>
                  </a:lnTo>
                  <a:lnTo>
                    <a:pt x="146" y="92"/>
                  </a:lnTo>
                  <a:lnTo>
                    <a:pt x="143" y="121"/>
                  </a:lnTo>
                  <a:lnTo>
                    <a:pt x="117" y="90"/>
                  </a:lnTo>
                  <a:lnTo>
                    <a:pt x="142" y="150"/>
                  </a:lnTo>
                  <a:lnTo>
                    <a:pt x="84" y="177"/>
                  </a:lnTo>
                  <a:lnTo>
                    <a:pt x="114" y="149"/>
                  </a:lnTo>
                  <a:lnTo>
                    <a:pt x="86" y="147"/>
                  </a:lnTo>
                  <a:lnTo>
                    <a:pt x="59" y="117"/>
                  </a:lnTo>
                  <a:lnTo>
                    <a:pt x="57" y="146"/>
                  </a:lnTo>
                  <a:lnTo>
                    <a:pt x="0" y="143"/>
                  </a:lnTo>
                  <a:lnTo>
                    <a:pt x="31" y="116"/>
                  </a:lnTo>
                  <a:lnTo>
                    <a:pt x="32" y="85"/>
                  </a:lnTo>
                  <a:lnTo>
                    <a:pt x="33" y="56"/>
                  </a:lnTo>
                </a:path>
              </a:pathLst>
            </a:custGeom>
            <a:solidFill>
              <a:srgbClr val="B2C2D1"/>
            </a:solidFill>
            <a:ln w="9525">
              <a:noFill/>
              <a:round/>
              <a:headEnd/>
              <a:tailEnd/>
            </a:ln>
          </p:spPr>
          <p:txBody>
            <a:bodyPr/>
            <a:lstStyle/>
            <a:p>
              <a:endParaRPr lang="el-GR"/>
            </a:p>
          </p:txBody>
        </p:sp>
        <p:sp>
          <p:nvSpPr>
            <p:cNvPr id="228" name="Freeform 105"/>
            <p:cNvSpPr>
              <a:spLocks/>
            </p:cNvSpPr>
            <p:nvPr/>
          </p:nvSpPr>
          <p:spPr bwMode="auto">
            <a:xfrm>
              <a:off x="3890" y="2814"/>
              <a:ext cx="46" cy="42"/>
            </a:xfrm>
            <a:custGeom>
              <a:avLst/>
              <a:gdLst>
                <a:gd name="T0" fmla="*/ 2 w 194"/>
                <a:gd name="T1" fmla="*/ 3 h 176"/>
                <a:gd name="T2" fmla="*/ 3 w 194"/>
                <a:gd name="T3" fmla="*/ 2 h 176"/>
                <a:gd name="T4" fmla="*/ 3 w 194"/>
                <a:gd name="T5" fmla="*/ 0 h 176"/>
                <a:gd name="T6" fmla="*/ 5 w 194"/>
                <a:gd name="T7" fmla="*/ 2 h 176"/>
                <a:gd name="T8" fmla="*/ 6 w 194"/>
                <a:gd name="T9" fmla="*/ 5 h 176"/>
                <a:gd name="T10" fmla="*/ 6 w 194"/>
                <a:gd name="T11" fmla="*/ 7 h 176"/>
                <a:gd name="T12" fmla="*/ 8 w 194"/>
                <a:gd name="T13" fmla="*/ 7 h 176"/>
                <a:gd name="T14" fmla="*/ 9 w 194"/>
                <a:gd name="T15" fmla="*/ 7 h 176"/>
                <a:gd name="T16" fmla="*/ 11 w 194"/>
                <a:gd name="T17" fmla="*/ 9 h 176"/>
                <a:gd name="T18" fmla="*/ 6 w 194"/>
                <a:gd name="T19" fmla="*/ 10 h 176"/>
                <a:gd name="T20" fmla="*/ 5 w 194"/>
                <a:gd name="T21" fmla="*/ 8 h 176"/>
                <a:gd name="T22" fmla="*/ 5 w 194"/>
                <a:gd name="T23" fmla="*/ 5 h 176"/>
                <a:gd name="T24" fmla="*/ 3 w 194"/>
                <a:gd name="T25" fmla="*/ 5 h 176"/>
                <a:gd name="T26" fmla="*/ 2 w 194"/>
                <a:gd name="T27" fmla="*/ 6 h 176"/>
                <a:gd name="T28" fmla="*/ 0 w 194"/>
                <a:gd name="T29" fmla="*/ 6 h 176"/>
                <a:gd name="T30" fmla="*/ 0 w 194"/>
                <a:gd name="T31" fmla="*/ 3 h 176"/>
                <a:gd name="T32" fmla="*/ 0 w 194"/>
                <a:gd name="T33" fmla="*/ 1 h 176"/>
                <a:gd name="T34" fmla="*/ 2 w 194"/>
                <a:gd name="T35" fmla="*/ 3 h 1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4"/>
                <a:gd name="T55" fmla="*/ 0 h 176"/>
                <a:gd name="T56" fmla="*/ 194 w 194"/>
                <a:gd name="T57" fmla="*/ 176 h 1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4" h="176">
                  <a:moveTo>
                    <a:pt x="31" y="56"/>
                  </a:moveTo>
                  <a:lnTo>
                    <a:pt x="60" y="28"/>
                  </a:lnTo>
                  <a:lnTo>
                    <a:pt x="61" y="0"/>
                  </a:lnTo>
                  <a:lnTo>
                    <a:pt x="87" y="30"/>
                  </a:lnTo>
                  <a:lnTo>
                    <a:pt x="113" y="89"/>
                  </a:lnTo>
                  <a:lnTo>
                    <a:pt x="111" y="118"/>
                  </a:lnTo>
                  <a:lnTo>
                    <a:pt x="139" y="119"/>
                  </a:lnTo>
                  <a:lnTo>
                    <a:pt x="167" y="122"/>
                  </a:lnTo>
                  <a:lnTo>
                    <a:pt x="194" y="152"/>
                  </a:lnTo>
                  <a:lnTo>
                    <a:pt x="108" y="176"/>
                  </a:lnTo>
                  <a:lnTo>
                    <a:pt x="82" y="146"/>
                  </a:lnTo>
                  <a:lnTo>
                    <a:pt x="85" y="87"/>
                  </a:lnTo>
                  <a:lnTo>
                    <a:pt x="57" y="86"/>
                  </a:lnTo>
                  <a:lnTo>
                    <a:pt x="28" y="114"/>
                  </a:lnTo>
                  <a:lnTo>
                    <a:pt x="0" y="112"/>
                  </a:lnTo>
                  <a:lnTo>
                    <a:pt x="3" y="54"/>
                  </a:lnTo>
                  <a:lnTo>
                    <a:pt x="4" y="25"/>
                  </a:lnTo>
                  <a:lnTo>
                    <a:pt x="31" y="56"/>
                  </a:lnTo>
                  <a:close/>
                </a:path>
              </a:pathLst>
            </a:custGeom>
            <a:solidFill>
              <a:srgbClr val="B2C2D1"/>
            </a:solidFill>
            <a:ln w="9525">
              <a:noFill/>
              <a:round/>
              <a:headEnd/>
              <a:tailEnd/>
            </a:ln>
          </p:spPr>
          <p:txBody>
            <a:bodyPr/>
            <a:lstStyle/>
            <a:p>
              <a:endParaRPr lang="el-GR"/>
            </a:p>
          </p:txBody>
        </p:sp>
        <p:sp>
          <p:nvSpPr>
            <p:cNvPr id="229" name="Freeform 106"/>
            <p:cNvSpPr>
              <a:spLocks/>
            </p:cNvSpPr>
            <p:nvPr/>
          </p:nvSpPr>
          <p:spPr bwMode="auto">
            <a:xfrm>
              <a:off x="3890" y="2814"/>
              <a:ext cx="46" cy="42"/>
            </a:xfrm>
            <a:custGeom>
              <a:avLst/>
              <a:gdLst>
                <a:gd name="T0" fmla="*/ 2 w 194"/>
                <a:gd name="T1" fmla="*/ 3 h 176"/>
                <a:gd name="T2" fmla="*/ 3 w 194"/>
                <a:gd name="T3" fmla="*/ 2 h 176"/>
                <a:gd name="T4" fmla="*/ 3 w 194"/>
                <a:gd name="T5" fmla="*/ 0 h 176"/>
                <a:gd name="T6" fmla="*/ 5 w 194"/>
                <a:gd name="T7" fmla="*/ 2 h 176"/>
                <a:gd name="T8" fmla="*/ 6 w 194"/>
                <a:gd name="T9" fmla="*/ 5 h 176"/>
                <a:gd name="T10" fmla="*/ 6 w 194"/>
                <a:gd name="T11" fmla="*/ 7 h 176"/>
                <a:gd name="T12" fmla="*/ 8 w 194"/>
                <a:gd name="T13" fmla="*/ 7 h 176"/>
                <a:gd name="T14" fmla="*/ 9 w 194"/>
                <a:gd name="T15" fmla="*/ 7 h 176"/>
                <a:gd name="T16" fmla="*/ 11 w 194"/>
                <a:gd name="T17" fmla="*/ 9 h 176"/>
                <a:gd name="T18" fmla="*/ 6 w 194"/>
                <a:gd name="T19" fmla="*/ 10 h 176"/>
                <a:gd name="T20" fmla="*/ 5 w 194"/>
                <a:gd name="T21" fmla="*/ 8 h 176"/>
                <a:gd name="T22" fmla="*/ 5 w 194"/>
                <a:gd name="T23" fmla="*/ 5 h 176"/>
                <a:gd name="T24" fmla="*/ 3 w 194"/>
                <a:gd name="T25" fmla="*/ 5 h 176"/>
                <a:gd name="T26" fmla="*/ 2 w 194"/>
                <a:gd name="T27" fmla="*/ 6 h 176"/>
                <a:gd name="T28" fmla="*/ 0 w 194"/>
                <a:gd name="T29" fmla="*/ 6 h 176"/>
                <a:gd name="T30" fmla="*/ 0 w 194"/>
                <a:gd name="T31" fmla="*/ 3 h 176"/>
                <a:gd name="T32" fmla="*/ 0 w 194"/>
                <a:gd name="T33" fmla="*/ 1 h 176"/>
                <a:gd name="T34" fmla="*/ 2 w 194"/>
                <a:gd name="T35" fmla="*/ 3 h 17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94"/>
                <a:gd name="T55" fmla="*/ 0 h 176"/>
                <a:gd name="T56" fmla="*/ 194 w 194"/>
                <a:gd name="T57" fmla="*/ 176 h 17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94" h="176">
                  <a:moveTo>
                    <a:pt x="31" y="56"/>
                  </a:moveTo>
                  <a:lnTo>
                    <a:pt x="60" y="28"/>
                  </a:lnTo>
                  <a:lnTo>
                    <a:pt x="61" y="0"/>
                  </a:lnTo>
                  <a:lnTo>
                    <a:pt x="87" y="30"/>
                  </a:lnTo>
                  <a:lnTo>
                    <a:pt x="113" y="89"/>
                  </a:lnTo>
                  <a:lnTo>
                    <a:pt x="111" y="118"/>
                  </a:lnTo>
                  <a:lnTo>
                    <a:pt x="139" y="119"/>
                  </a:lnTo>
                  <a:lnTo>
                    <a:pt x="167" y="122"/>
                  </a:lnTo>
                  <a:lnTo>
                    <a:pt x="194" y="152"/>
                  </a:lnTo>
                  <a:lnTo>
                    <a:pt x="108" y="176"/>
                  </a:lnTo>
                  <a:lnTo>
                    <a:pt x="82" y="146"/>
                  </a:lnTo>
                  <a:lnTo>
                    <a:pt x="85" y="87"/>
                  </a:lnTo>
                  <a:lnTo>
                    <a:pt x="57" y="86"/>
                  </a:lnTo>
                  <a:lnTo>
                    <a:pt x="28" y="114"/>
                  </a:lnTo>
                  <a:lnTo>
                    <a:pt x="0" y="112"/>
                  </a:lnTo>
                  <a:lnTo>
                    <a:pt x="3" y="54"/>
                  </a:lnTo>
                  <a:lnTo>
                    <a:pt x="4" y="25"/>
                  </a:lnTo>
                  <a:lnTo>
                    <a:pt x="31" y="56"/>
                  </a:lnTo>
                </a:path>
              </a:pathLst>
            </a:custGeom>
            <a:solidFill>
              <a:srgbClr val="B2C2D1"/>
            </a:solidFill>
            <a:ln w="9525">
              <a:noFill/>
              <a:round/>
              <a:headEnd/>
              <a:tailEnd/>
            </a:ln>
          </p:spPr>
          <p:txBody>
            <a:bodyPr/>
            <a:lstStyle/>
            <a:p>
              <a:endParaRPr lang="el-GR"/>
            </a:p>
          </p:txBody>
        </p:sp>
        <p:sp>
          <p:nvSpPr>
            <p:cNvPr id="230" name="Freeform 107"/>
            <p:cNvSpPr>
              <a:spLocks/>
            </p:cNvSpPr>
            <p:nvPr/>
          </p:nvSpPr>
          <p:spPr bwMode="auto">
            <a:xfrm>
              <a:off x="4027" y="2764"/>
              <a:ext cx="34" cy="44"/>
            </a:xfrm>
            <a:custGeom>
              <a:avLst/>
              <a:gdLst>
                <a:gd name="T0" fmla="*/ 3 w 142"/>
                <a:gd name="T1" fmla="*/ 9 h 184"/>
                <a:gd name="T2" fmla="*/ 4 w 142"/>
                <a:gd name="T3" fmla="*/ 11 h 184"/>
                <a:gd name="T4" fmla="*/ 6 w 142"/>
                <a:gd name="T5" fmla="*/ 11 h 184"/>
                <a:gd name="T6" fmla="*/ 6 w 142"/>
                <a:gd name="T7" fmla="*/ 7 h 184"/>
                <a:gd name="T8" fmla="*/ 8 w 142"/>
                <a:gd name="T9" fmla="*/ 7 h 184"/>
                <a:gd name="T10" fmla="*/ 6 w 142"/>
                <a:gd name="T11" fmla="*/ 6 h 184"/>
                <a:gd name="T12" fmla="*/ 8 w 142"/>
                <a:gd name="T13" fmla="*/ 6 h 184"/>
                <a:gd name="T14" fmla="*/ 8 w 142"/>
                <a:gd name="T15" fmla="*/ 2 h 184"/>
                <a:gd name="T16" fmla="*/ 6 w 142"/>
                <a:gd name="T17" fmla="*/ 2 h 184"/>
                <a:gd name="T18" fmla="*/ 6 w 142"/>
                <a:gd name="T19" fmla="*/ 0 h 184"/>
                <a:gd name="T20" fmla="*/ 5 w 142"/>
                <a:gd name="T21" fmla="*/ 2 h 184"/>
                <a:gd name="T22" fmla="*/ 3 w 142"/>
                <a:gd name="T23" fmla="*/ 2 h 184"/>
                <a:gd name="T24" fmla="*/ 3 w 142"/>
                <a:gd name="T25" fmla="*/ 0 h 184"/>
                <a:gd name="T26" fmla="*/ 2 w 142"/>
                <a:gd name="T27" fmla="*/ 0 h 184"/>
                <a:gd name="T28" fmla="*/ 2 w 142"/>
                <a:gd name="T29" fmla="*/ 2 h 184"/>
                <a:gd name="T30" fmla="*/ 0 w 142"/>
                <a:gd name="T31" fmla="*/ 2 h 184"/>
                <a:gd name="T32" fmla="*/ 1 w 142"/>
                <a:gd name="T33" fmla="*/ 5 h 184"/>
                <a:gd name="T34" fmla="*/ 3 w 142"/>
                <a:gd name="T35" fmla="*/ 5 h 184"/>
                <a:gd name="T36" fmla="*/ 1 w 142"/>
                <a:gd name="T37" fmla="*/ 5 h 184"/>
                <a:gd name="T38" fmla="*/ 1 w 142"/>
                <a:gd name="T39" fmla="*/ 7 h 184"/>
                <a:gd name="T40" fmla="*/ 3 w 142"/>
                <a:gd name="T41" fmla="*/ 7 h 184"/>
                <a:gd name="T42" fmla="*/ 5 w 142"/>
                <a:gd name="T43" fmla="*/ 7 h 184"/>
                <a:gd name="T44" fmla="*/ 3 w 142"/>
                <a:gd name="T45" fmla="*/ 9 h 1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2"/>
                <a:gd name="T70" fmla="*/ 0 h 184"/>
                <a:gd name="T71" fmla="*/ 142 w 142"/>
                <a:gd name="T72" fmla="*/ 184 h 1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2" h="184">
                  <a:moveTo>
                    <a:pt x="51" y="151"/>
                  </a:moveTo>
                  <a:lnTo>
                    <a:pt x="77" y="182"/>
                  </a:lnTo>
                  <a:lnTo>
                    <a:pt x="106" y="184"/>
                  </a:lnTo>
                  <a:lnTo>
                    <a:pt x="109" y="124"/>
                  </a:lnTo>
                  <a:lnTo>
                    <a:pt x="137" y="125"/>
                  </a:lnTo>
                  <a:lnTo>
                    <a:pt x="110" y="95"/>
                  </a:lnTo>
                  <a:lnTo>
                    <a:pt x="139" y="97"/>
                  </a:lnTo>
                  <a:lnTo>
                    <a:pt x="142" y="37"/>
                  </a:lnTo>
                  <a:lnTo>
                    <a:pt x="112" y="35"/>
                  </a:lnTo>
                  <a:lnTo>
                    <a:pt x="114" y="6"/>
                  </a:lnTo>
                  <a:lnTo>
                    <a:pt x="85" y="34"/>
                  </a:lnTo>
                  <a:lnTo>
                    <a:pt x="57" y="33"/>
                  </a:lnTo>
                  <a:lnTo>
                    <a:pt x="58" y="3"/>
                  </a:lnTo>
                  <a:lnTo>
                    <a:pt x="30" y="0"/>
                  </a:lnTo>
                  <a:lnTo>
                    <a:pt x="28" y="31"/>
                  </a:lnTo>
                  <a:lnTo>
                    <a:pt x="0" y="30"/>
                  </a:lnTo>
                  <a:lnTo>
                    <a:pt x="25" y="90"/>
                  </a:lnTo>
                  <a:lnTo>
                    <a:pt x="54" y="91"/>
                  </a:lnTo>
                  <a:lnTo>
                    <a:pt x="25" y="90"/>
                  </a:lnTo>
                  <a:lnTo>
                    <a:pt x="24" y="119"/>
                  </a:lnTo>
                  <a:lnTo>
                    <a:pt x="52" y="122"/>
                  </a:lnTo>
                  <a:lnTo>
                    <a:pt x="80" y="123"/>
                  </a:lnTo>
                  <a:lnTo>
                    <a:pt x="51" y="151"/>
                  </a:lnTo>
                  <a:close/>
                </a:path>
              </a:pathLst>
            </a:custGeom>
            <a:solidFill>
              <a:srgbClr val="B2C2D1"/>
            </a:solidFill>
            <a:ln w="9525">
              <a:noFill/>
              <a:round/>
              <a:headEnd/>
              <a:tailEnd/>
            </a:ln>
          </p:spPr>
          <p:txBody>
            <a:bodyPr/>
            <a:lstStyle/>
            <a:p>
              <a:endParaRPr lang="el-GR"/>
            </a:p>
          </p:txBody>
        </p:sp>
        <p:sp>
          <p:nvSpPr>
            <p:cNvPr id="231" name="Freeform 108"/>
            <p:cNvSpPr>
              <a:spLocks/>
            </p:cNvSpPr>
            <p:nvPr/>
          </p:nvSpPr>
          <p:spPr bwMode="auto">
            <a:xfrm>
              <a:off x="4027" y="2764"/>
              <a:ext cx="34" cy="44"/>
            </a:xfrm>
            <a:custGeom>
              <a:avLst/>
              <a:gdLst>
                <a:gd name="T0" fmla="*/ 3 w 142"/>
                <a:gd name="T1" fmla="*/ 9 h 184"/>
                <a:gd name="T2" fmla="*/ 4 w 142"/>
                <a:gd name="T3" fmla="*/ 11 h 184"/>
                <a:gd name="T4" fmla="*/ 6 w 142"/>
                <a:gd name="T5" fmla="*/ 11 h 184"/>
                <a:gd name="T6" fmla="*/ 6 w 142"/>
                <a:gd name="T7" fmla="*/ 7 h 184"/>
                <a:gd name="T8" fmla="*/ 8 w 142"/>
                <a:gd name="T9" fmla="*/ 7 h 184"/>
                <a:gd name="T10" fmla="*/ 6 w 142"/>
                <a:gd name="T11" fmla="*/ 6 h 184"/>
                <a:gd name="T12" fmla="*/ 8 w 142"/>
                <a:gd name="T13" fmla="*/ 6 h 184"/>
                <a:gd name="T14" fmla="*/ 8 w 142"/>
                <a:gd name="T15" fmla="*/ 2 h 184"/>
                <a:gd name="T16" fmla="*/ 6 w 142"/>
                <a:gd name="T17" fmla="*/ 2 h 184"/>
                <a:gd name="T18" fmla="*/ 6 w 142"/>
                <a:gd name="T19" fmla="*/ 0 h 184"/>
                <a:gd name="T20" fmla="*/ 5 w 142"/>
                <a:gd name="T21" fmla="*/ 2 h 184"/>
                <a:gd name="T22" fmla="*/ 3 w 142"/>
                <a:gd name="T23" fmla="*/ 2 h 184"/>
                <a:gd name="T24" fmla="*/ 3 w 142"/>
                <a:gd name="T25" fmla="*/ 0 h 184"/>
                <a:gd name="T26" fmla="*/ 2 w 142"/>
                <a:gd name="T27" fmla="*/ 0 h 184"/>
                <a:gd name="T28" fmla="*/ 2 w 142"/>
                <a:gd name="T29" fmla="*/ 2 h 184"/>
                <a:gd name="T30" fmla="*/ 0 w 142"/>
                <a:gd name="T31" fmla="*/ 2 h 184"/>
                <a:gd name="T32" fmla="*/ 1 w 142"/>
                <a:gd name="T33" fmla="*/ 5 h 184"/>
                <a:gd name="T34" fmla="*/ 3 w 142"/>
                <a:gd name="T35" fmla="*/ 5 h 184"/>
                <a:gd name="T36" fmla="*/ 1 w 142"/>
                <a:gd name="T37" fmla="*/ 5 h 184"/>
                <a:gd name="T38" fmla="*/ 1 w 142"/>
                <a:gd name="T39" fmla="*/ 7 h 184"/>
                <a:gd name="T40" fmla="*/ 3 w 142"/>
                <a:gd name="T41" fmla="*/ 7 h 184"/>
                <a:gd name="T42" fmla="*/ 5 w 142"/>
                <a:gd name="T43" fmla="*/ 7 h 184"/>
                <a:gd name="T44" fmla="*/ 3 w 142"/>
                <a:gd name="T45" fmla="*/ 9 h 1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42"/>
                <a:gd name="T70" fmla="*/ 0 h 184"/>
                <a:gd name="T71" fmla="*/ 142 w 142"/>
                <a:gd name="T72" fmla="*/ 184 h 1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42" h="184">
                  <a:moveTo>
                    <a:pt x="51" y="151"/>
                  </a:moveTo>
                  <a:lnTo>
                    <a:pt x="77" y="182"/>
                  </a:lnTo>
                  <a:lnTo>
                    <a:pt x="106" y="184"/>
                  </a:lnTo>
                  <a:lnTo>
                    <a:pt x="109" y="124"/>
                  </a:lnTo>
                  <a:lnTo>
                    <a:pt x="137" y="125"/>
                  </a:lnTo>
                  <a:lnTo>
                    <a:pt x="110" y="95"/>
                  </a:lnTo>
                  <a:lnTo>
                    <a:pt x="139" y="97"/>
                  </a:lnTo>
                  <a:lnTo>
                    <a:pt x="142" y="37"/>
                  </a:lnTo>
                  <a:lnTo>
                    <a:pt x="112" y="35"/>
                  </a:lnTo>
                  <a:lnTo>
                    <a:pt x="114" y="6"/>
                  </a:lnTo>
                  <a:lnTo>
                    <a:pt x="85" y="34"/>
                  </a:lnTo>
                  <a:lnTo>
                    <a:pt x="57" y="33"/>
                  </a:lnTo>
                  <a:lnTo>
                    <a:pt x="58" y="3"/>
                  </a:lnTo>
                  <a:lnTo>
                    <a:pt x="30" y="0"/>
                  </a:lnTo>
                  <a:lnTo>
                    <a:pt x="28" y="31"/>
                  </a:lnTo>
                  <a:lnTo>
                    <a:pt x="0" y="30"/>
                  </a:lnTo>
                  <a:lnTo>
                    <a:pt x="25" y="90"/>
                  </a:lnTo>
                  <a:lnTo>
                    <a:pt x="54" y="91"/>
                  </a:lnTo>
                  <a:lnTo>
                    <a:pt x="25" y="90"/>
                  </a:lnTo>
                  <a:lnTo>
                    <a:pt x="24" y="119"/>
                  </a:lnTo>
                  <a:lnTo>
                    <a:pt x="52" y="122"/>
                  </a:lnTo>
                  <a:lnTo>
                    <a:pt x="80" y="123"/>
                  </a:lnTo>
                  <a:lnTo>
                    <a:pt x="51" y="151"/>
                  </a:lnTo>
                </a:path>
              </a:pathLst>
            </a:custGeom>
            <a:solidFill>
              <a:srgbClr val="B2C2D1"/>
            </a:solidFill>
            <a:ln w="9525">
              <a:noFill/>
              <a:round/>
              <a:headEnd/>
              <a:tailEnd/>
            </a:ln>
          </p:spPr>
          <p:txBody>
            <a:bodyPr/>
            <a:lstStyle/>
            <a:p>
              <a:endParaRPr lang="el-GR"/>
            </a:p>
          </p:txBody>
        </p:sp>
        <p:sp>
          <p:nvSpPr>
            <p:cNvPr id="232" name="Freeform 109"/>
            <p:cNvSpPr>
              <a:spLocks/>
            </p:cNvSpPr>
            <p:nvPr/>
          </p:nvSpPr>
          <p:spPr bwMode="auto">
            <a:xfrm>
              <a:off x="3742" y="3205"/>
              <a:ext cx="48" cy="33"/>
            </a:xfrm>
            <a:custGeom>
              <a:avLst/>
              <a:gdLst>
                <a:gd name="T0" fmla="*/ 7 w 202"/>
                <a:gd name="T1" fmla="*/ 1 h 140"/>
                <a:gd name="T2" fmla="*/ 8 w 202"/>
                <a:gd name="T3" fmla="*/ 0 h 140"/>
                <a:gd name="T4" fmla="*/ 10 w 202"/>
                <a:gd name="T5" fmla="*/ 0 h 140"/>
                <a:gd name="T6" fmla="*/ 11 w 202"/>
                <a:gd name="T7" fmla="*/ 0 h 140"/>
                <a:gd name="T8" fmla="*/ 10 w 202"/>
                <a:gd name="T9" fmla="*/ 3 h 140"/>
                <a:gd name="T10" fmla="*/ 6 w 202"/>
                <a:gd name="T11" fmla="*/ 3 h 140"/>
                <a:gd name="T12" fmla="*/ 6 w 202"/>
                <a:gd name="T13" fmla="*/ 5 h 140"/>
                <a:gd name="T14" fmla="*/ 5 w 202"/>
                <a:gd name="T15" fmla="*/ 5 h 140"/>
                <a:gd name="T16" fmla="*/ 3 w 202"/>
                <a:gd name="T17" fmla="*/ 8 h 140"/>
                <a:gd name="T18" fmla="*/ 0 w 202"/>
                <a:gd name="T19" fmla="*/ 6 h 140"/>
                <a:gd name="T20" fmla="*/ 0 w 202"/>
                <a:gd name="T21" fmla="*/ 4 h 140"/>
                <a:gd name="T22" fmla="*/ 3 w 202"/>
                <a:gd name="T23" fmla="*/ 1 h 140"/>
                <a:gd name="T24" fmla="*/ 5 w 202"/>
                <a:gd name="T25" fmla="*/ 1 h 140"/>
                <a:gd name="T26" fmla="*/ 7 w 202"/>
                <a:gd name="T27" fmla="*/ 1 h 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2"/>
                <a:gd name="T43" fmla="*/ 0 h 140"/>
                <a:gd name="T44" fmla="*/ 202 w 202"/>
                <a:gd name="T45" fmla="*/ 140 h 1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2" h="140">
                  <a:moveTo>
                    <a:pt x="117" y="27"/>
                  </a:moveTo>
                  <a:lnTo>
                    <a:pt x="146" y="0"/>
                  </a:lnTo>
                  <a:lnTo>
                    <a:pt x="174" y="1"/>
                  </a:lnTo>
                  <a:lnTo>
                    <a:pt x="202" y="4"/>
                  </a:lnTo>
                  <a:lnTo>
                    <a:pt x="171" y="59"/>
                  </a:lnTo>
                  <a:lnTo>
                    <a:pt x="115" y="57"/>
                  </a:lnTo>
                  <a:lnTo>
                    <a:pt x="114" y="86"/>
                  </a:lnTo>
                  <a:lnTo>
                    <a:pt x="86" y="84"/>
                  </a:lnTo>
                  <a:lnTo>
                    <a:pt x="54" y="140"/>
                  </a:lnTo>
                  <a:lnTo>
                    <a:pt x="0" y="109"/>
                  </a:lnTo>
                  <a:lnTo>
                    <a:pt x="1" y="79"/>
                  </a:lnTo>
                  <a:lnTo>
                    <a:pt x="61" y="24"/>
                  </a:lnTo>
                  <a:lnTo>
                    <a:pt x="89" y="26"/>
                  </a:lnTo>
                  <a:lnTo>
                    <a:pt x="117" y="27"/>
                  </a:lnTo>
                  <a:close/>
                </a:path>
              </a:pathLst>
            </a:custGeom>
            <a:solidFill>
              <a:srgbClr val="B2C2D1"/>
            </a:solidFill>
            <a:ln w="9525">
              <a:noFill/>
              <a:round/>
              <a:headEnd/>
              <a:tailEnd/>
            </a:ln>
          </p:spPr>
          <p:txBody>
            <a:bodyPr/>
            <a:lstStyle/>
            <a:p>
              <a:endParaRPr lang="el-GR"/>
            </a:p>
          </p:txBody>
        </p:sp>
        <p:sp>
          <p:nvSpPr>
            <p:cNvPr id="233" name="Freeform 110"/>
            <p:cNvSpPr>
              <a:spLocks/>
            </p:cNvSpPr>
            <p:nvPr/>
          </p:nvSpPr>
          <p:spPr bwMode="auto">
            <a:xfrm>
              <a:off x="3742" y="3205"/>
              <a:ext cx="48" cy="33"/>
            </a:xfrm>
            <a:custGeom>
              <a:avLst/>
              <a:gdLst>
                <a:gd name="T0" fmla="*/ 7 w 202"/>
                <a:gd name="T1" fmla="*/ 1 h 140"/>
                <a:gd name="T2" fmla="*/ 8 w 202"/>
                <a:gd name="T3" fmla="*/ 0 h 140"/>
                <a:gd name="T4" fmla="*/ 10 w 202"/>
                <a:gd name="T5" fmla="*/ 0 h 140"/>
                <a:gd name="T6" fmla="*/ 11 w 202"/>
                <a:gd name="T7" fmla="*/ 0 h 140"/>
                <a:gd name="T8" fmla="*/ 10 w 202"/>
                <a:gd name="T9" fmla="*/ 3 h 140"/>
                <a:gd name="T10" fmla="*/ 6 w 202"/>
                <a:gd name="T11" fmla="*/ 3 h 140"/>
                <a:gd name="T12" fmla="*/ 6 w 202"/>
                <a:gd name="T13" fmla="*/ 5 h 140"/>
                <a:gd name="T14" fmla="*/ 5 w 202"/>
                <a:gd name="T15" fmla="*/ 5 h 140"/>
                <a:gd name="T16" fmla="*/ 3 w 202"/>
                <a:gd name="T17" fmla="*/ 8 h 140"/>
                <a:gd name="T18" fmla="*/ 0 w 202"/>
                <a:gd name="T19" fmla="*/ 6 h 140"/>
                <a:gd name="T20" fmla="*/ 0 w 202"/>
                <a:gd name="T21" fmla="*/ 4 h 140"/>
                <a:gd name="T22" fmla="*/ 3 w 202"/>
                <a:gd name="T23" fmla="*/ 1 h 140"/>
                <a:gd name="T24" fmla="*/ 5 w 202"/>
                <a:gd name="T25" fmla="*/ 1 h 140"/>
                <a:gd name="T26" fmla="*/ 7 w 202"/>
                <a:gd name="T27" fmla="*/ 1 h 14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2"/>
                <a:gd name="T43" fmla="*/ 0 h 140"/>
                <a:gd name="T44" fmla="*/ 202 w 202"/>
                <a:gd name="T45" fmla="*/ 140 h 14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2" h="140">
                  <a:moveTo>
                    <a:pt x="117" y="27"/>
                  </a:moveTo>
                  <a:lnTo>
                    <a:pt x="146" y="0"/>
                  </a:lnTo>
                  <a:lnTo>
                    <a:pt x="174" y="1"/>
                  </a:lnTo>
                  <a:lnTo>
                    <a:pt x="202" y="4"/>
                  </a:lnTo>
                  <a:lnTo>
                    <a:pt x="171" y="59"/>
                  </a:lnTo>
                  <a:lnTo>
                    <a:pt x="115" y="57"/>
                  </a:lnTo>
                  <a:lnTo>
                    <a:pt x="114" y="86"/>
                  </a:lnTo>
                  <a:lnTo>
                    <a:pt x="86" y="84"/>
                  </a:lnTo>
                  <a:lnTo>
                    <a:pt x="54" y="140"/>
                  </a:lnTo>
                  <a:lnTo>
                    <a:pt x="0" y="109"/>
                  </a:lnTo>
                  <a:lnTo>
                    <a:pt x="1" y="79"/>
                  </a:lnTo>
                  <a:lnTo>
                    <a:pt x="61" y="24"/>
                  </a:lnTo>
                  <a:lnTo>
                    <a:pt x="89" y="26"/>
                  </a:lnTo>
                  <a:lnTo>
                    <a:pt x="117" y="27"/>
                  </a:lnTo>
                </a:path>
              </a:pathLst>
            </a:custGeom>
            <a:solidFill>
              <a:srgbClr val="B2C2D1"/>
            </a:solidFill>
            <a:ln w="9525">
              <a:noFill/>
              <a:round/>
              <a:headEnd/>
              <a:tailEnd/>
            </a:ln>
          </p:spPr>
          <p:txBody>
            <a:bodyPr/>
            <a:lstStyle/>
            <a:p>
              <a:endParaRPr lang="el-GR"/>
            </a:p>
          </p:txBody>
        </p:sp>
        <p:sp>
          <p:nvSpPr>
            <p:cNvPr id="234" name="Freeform 111"/>
            <p:cNvSpPr>
              <a:spLocks/>
            </p:cNvSpPr>
            <p:nvPr/>
          </p:nvSpPr>
          <p:spPr bwMode="auto">
            <a:xfrm>
              <a:off x="3757" y="2533"/>
              <a:ext cx="33" cy="43"/>
            </a:xfrm>
            <a:custGeom>
              <a:avLst/>
              <a:gdLst>
                <a:gd name="T0" fmla="*/ 3 w 136"/>
                <a:gd name="T1" fmla="*/ 8 h 182"/>
                <a:gd name="T2" fmla="*/ 5 w 136"/>
                <a:gd name="T3" fmla="*/ 8 h 182"/>
                <a:gd name="T4" fmla="*/ 6 w 136"/>
                <a:gd name="T5" fmla="*/ 7 h 182"/>
                <a:gd name="T6" fmla="*/ 6 w 136"/>
                <a:gd name="T7" fmla="*/ 9 h 182"/>
                <a:gd name="T8" fmla="*/ 5 w 136"/>
                <a:gd name="T9" fmla="*/ 10 h 182"/>
                <a:gd name="T10" fmla="*/ 6 w 136"/>
                <a:gd name="T11" fmla="*/ 10 h 182"/>
                <a:gd name="T12" fmla="*/ 8 w 136"/>
                <a:gd name="T13" fmla="*/ 10 h 182"/>
                <a:gd name="T14" fmla="*/ 8 w 136"/>
                <a:gd name="T15" fmla="*/ 9 h 182"/>
                <a:gd name="T16" fmla="*/ 6 w 136"/>
                <a:gd name="T17" fmla="*/ 5 h 182"/>
                <a:gd name="T18" fmla="*/ 8 w 136"/>
                <a:gd name="T19" fmla="*/ 5 h 182"/>
                <a:gd name="T20" fmla="*/ 5 w 136"/>
                <a:gd name="T21" fmla="*/ 3 h 182"/>
                <a:gd name="T22" fmla="*/ 7 w 136"/>
                <a:gd name="T23" fmla="*/ 4 h 182"/>
                <a:gd name="T24" fmla="*/ 7 w 136"/>
                <a:gd name="T25" fmla="*/ 2 h 182"/>
                <a:gd name="T26" fmla="*/ 3 w 136"/>
                <a:gd name="T27" fmla="*/ 0 h 182"/>
                <a:gd name="T28" fmla="*/ 3 w 136"/>
                <a:gd name="T29" fmla="*/ 2 h 182"/>
                <a:gd name="T30" fmla="*/ 2 w 136"/>
                <a:gd name="T31" fmla="*/ 2 h 182"/>
                <a:gd name="T32" fmla="*/ 0 w 136"/>
                <a:gd name="T33" fmla="*/ 1 h 182"/>
                <a:gd name="T34" fmla="*/ 0 w 136"/>
                <a:gd name="T35" fmla="*/ 3 h 182"/>
                <a:gd name="T36" fmla="*/ 3 w 136"/>
                <a:gd name="T37" fmla="*/ 5 h 182"/>
                <a:gd name="T38" fmla="*/ 5 w 136"/>
                <a:gd name="T39" fmla="*/ 5 h 182"/>
                <a:gd name="T40" fmla="*/ 3 w 136"/>
                <a:gd name="T41" fmla="*/ 7 h 182"/>
                <a:gd name="T42" fmla="*/ 3 w 136"/>
                <a:gd name="T43" fmla="*/ 8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6"/>
                <a:gd name="T67" fmla="*/ 0 h 182"/>
                <a:gd name="T68" fmla="*/ 136 w 136"/>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6" h="182">
                  <a:moveTo>
                    <a:pt x="51" y="149"/>
                  </a:moveTo>
                  <a:lnTo>
                    <a:pt x="78" y="149"/>
                  </a:lnTo>
                  <a:lnTo>
                    <a:pt x="107" y="122"/>
                  </a:lnTo>
                  <a:lnTo>
                    <a:pt x="106" y="151"/>
                  </a:lnTo>
                  <a:lnTo>
                    <a:pt x="77" y="179"/>
                  </a:lnTo>
                  <a:lnTo>
                    <a:pt x="104" y="180"/>
                  </a:lnTo>
                  <a:lnTo>
                    <a:pt x="132" y="182"/>
                  </a:lnTo>
                  <a:lnTo>
                    <a:pt x="133" y="152"/>
                  </a:lnTo>
                  <a:lnTo>
                    <a:pt x="108" y="91"/>
                  </a:lnTo>
                  <a:lnTo>
                    <a:pt x="136" y="92"/>
                  </a:lnTo>
                  <a:lnTo>
                    <a:pt x="82" y="61"/>
                  </a:lnTo>
                  <a:lnTo>
                    <a:pt x="110" y="62"/>
                  </a:lnTo>
                  <a:lnTo>
                    <a:pt x="112" y="32"/>
                  </a:lnTo>
                  <a:lnTo>
                    <a:pt x="59" y="0"/>
                  </a:lnTo>
                  <a:lnTo>
                    <a:pt x="56" y="29"/>
                  </a:lnTo>
                  <a:lnTo>
                    <a:pt x="29" y="28"/>
                  </a:lnTo>
                  <a:lnTo>
                    <a:pt x="1" y="25"/>
                  </a:lnTo>
                  <a:lnTo>
                    <a:pt x="0" y="56"/>
                  </a:lnTo>
                  <a:lnTo>
                    <a:pt x="54" y="88"/>
                  </a:lnTo>
                  <a:lnTo>
                    <a:pt x="80" y="89"/>
                  </a:lnTo>
                  <a:lnTo>
                    <a:pt x="52" y="118"/>
                  </a:lnTo>
                  <a:lnTo>
                    <a:pt x="51" y="149"/>
                  </a:lnTo>
                  <a:close/>
                </a:path>
              </a:pathLst>
            </a:custGeom>
            <a:solidFill>
              <a:srgbClr val="B2C2D1"/>
            </a:solidFill>
            <a:ln w="9525">
              <a:noFill/>
              <a:round/>
              <a:headEnd/>
              <a:tailEnd/>
            </a:ln>
          </p:spPr>
          <p:txBody>
            <a:bodyPr/>
            <a:lstStyle/>
            <a:p>
              <a:endParaRPr lang="el-GR"/>
            </a:p>
          </p:txBody>
        </p:sp>
        <p:sp>
          <p:nvSpPr>
            <p:cNvPr id="235" name="Freeform 112"/>
            <p:cNvSpPr>
              <a:spLocks/>
            </p:cNvSpPr>
            <p:nvPr/>
          </p:nvSpPr>
          <p:spPr bwMode="auto">
            <a:xfrm>
              <a:off x="3757" y="2533"/>
              <a:ext cx="33" cy="43"/>
            </a:xfrm>
            <a:custGeom>
              <a:avLst/>
              <a:gdLst>
                <a:gd name="T0" fmla="*/ 3 w 136"/>
                <a:gd name="T1" fmla="*/ 8 h 182"/>
                <a:gd name="T2" fmla="*/ 5 w 136"/>
                <a:gd name="T3" fmla="*/ 8 h 182"/>
                <a:gd name="T4" fmla="*/ 6 w 136"/>
                <a:gd name="T5" fmla="*/ 7 h 182"/>
                <a:gd name="T6" fmla="*/ 6 w 136"/>
                <a:gd name="T7" fmla="*/ 9 h 182"/>
                <a:gd name="T8" fmla="*/ 5 w 136"/>
                <a:gd name="T9" fmla="*/ 10 h 182"/>
                <a:gd name="T10" fmla="*/ 6 w 136"/>
                <a:gd name="T11" fmla="*/ 10 h 182"/>
                <a:gd name="T12" fmla="*/ 8 w 136"/>
                <a:gd name="T13" fmla="*/ 10 h 182"/>
                <a:gd name="T14" fmla="*/ 8 w 136"/>
                <a:gd name="T15" fmla="*/ 9 h 182"/>
                <a:gd name="T16" fmla="*/ 6 w 136"/>
                <a:gd name="T17" fmla="*/ 5 h 182"/>
                <a:gd name="T18" fmla="*/ 8 w 136"/>
                <a:gd name="T19" fmla="*/ 5 h 182"/>
                <a:gd name="T20" fmla="*/ 5 w 136"/>
                <a:gd name="T21" fmla="*/ 3 h 182"/>
                <a:gd name="T22" fmla="*/ 7 w 136"/>
                <a:gd name="T23" fmla="*/ 4 h 182"/>
                <a:gd name="T24" fmla="*/ 7 w 136"/>
                <a:gd name="T25" fmla="*/ 2 h 182"/>
                <a:gd name="T26" fmla="*/ 3 w 136"/>
                <a:gd name="T27" fmla="*/ 0 h 182"/>
                <a:gd name="T28" fmla="*/ 3 w 136"/>
                <a:gd name="T29" fmla="*/ 2 h 182"/>
                <a:gd name="T30" fmla="*/ 2 w 136"/>
                <a:gd name="T31" fmla="*/ 2 h 182"/>
                <a:gd name="T32" fmla="*/ 0 w 136"/>
                <a:gd name="T33" fmla="*/ 1 h 182"/>
                <a:gd name="T34" fmla="*/ 0 w 136"/>
                <a:gd name="T35" fmla="*/ 3 h 182"/>
                <a:gd name="T36" fmla="*/ 3 w 136"/>
                <a:gd name="T37" fmla="*/ 5 h 182"/>
                <a:gd name="T38" fmla="*/ 5 w 136"/>
                <a:gd name="T39" fmla="*/ 5 h 182"/>
                <a:gd name="T40" fmla="*/ 3 w 136"/>
                <a:gd name="T41" fmla="*/ 7 h 182"/>
                <a:gd name="T42" fmla="*/ 3 w 136"/>
                <a:gd name="T43" fmla="*/ 8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6"/>
                <a:gd name="T67" fmla="*/ 0 h 182"/>
                <a:gd name="T68" fmla="*/ 136 w 136"/>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6" h="182">
                  <a:moveTo>
                    <a:pt x="51" y="149"/>
                  </a:moveTo>
                  <a:lnTo>
                    <a:pt x="78" y="149"/>
                  </a:lnTo>
                  <a:lnTo>
                    <a:pt x="107" y="122"/>
                  </a:lnTo>
                  <a:lnTo>
                    <a:pt x="106" y="151"/>
                  </a:lnTo>
                  <a:lnTo>
                    <a:pt x="77" y="179"/>
                  </a:lnTo>
                  <a:lnTo>
                    <a:pt x="104" y="180"/>
                  </a:lnTo>
                  <a:lnTo>
                    <a:pt x="132" y="182"/>
                  </a:lnTo>
                  <a:lnTo>
                    <a:pt x="133" y="152"/>
                  </a:lnTo>
                  <a:lnTo>
                    <a:pt x="108" y="91"/>
                  </a:lnTo>
                  <a:lnTo>
                    <a:pt x="136" y="92"/>
                  </a:lnTo>
                  <a:lnTo>
                    <a:pt x="82" y="61"/>
                  </a:lnTo>
                  <a:lnTo>
                    <a:pt x="110" y="62"/>
                  </a:lnTo>
                  <a:lnTo>
                    <a:pt x="112" y="32"/>
                  </a:lnTo>
                  <a:lnTo>
                    <a:pt x="59" y="0"/>
                  </a:lnTo>
                  <a:lnTo>
                    <a:pt x="56" y="29"/>
                  </a:lnTo>
                  <a:lnTo>
                    <a:pt x="29" y="28"/>
                  </a:lnTo>
                  <a:lnTo>
                    <a:pt x="1" y="25"/>
                  </a:lnTo>
                  <a:lnTo>
                    <a:pt x="0" y="56"/>
                  </a:lnTo>
                  <a:lnTo>
                    <a:pt x="54" y="88"/>
                  </a:lnTo>
                  <a:lnTo>
                    <a:pt x="80" y="89"/>
                  </a:lnTo>
                  <a:lnTo>
                    <a:pt x="52" y="118"/>
                  </a:lnTo>
                  <a:lnTo>
                    <a:pt x="51" y="149"/>
                  </a:lnTo>
                </a:path>
              </a:pathLst>
            </a:custGeom>
            <a:solidFill>
              <a:srgbClr val="B2C2D1"/>
            </a:solidFill>
            <a:ln w="9525">
              <a:noFill/>
              <a:round/>
              <a:headEnd/>
              <a:tailEnd/>
            </a:ln>
          </p:spPr>
          <p:txBody>
            <a:bodyPr/>
            <a:lstStyle/>
            <a:p>
              <a:endParaRPr lang="el-GR"/>
            </a:p>
          </p:txBody>
        </p:sp>
        <p:sp>
          <p:nvSpPr>
            <p:cNvPr id="236" name="Freeform 113"/>
            <p:cNvSpPr>
              <a:spLocks/>
            </p:cNvSpPr>
            <p:nvPr/>
          </p:nvSpPr>
          <p:spPr bwMode="auto">
            <a:xfrm>
              <a:off x="3840" y="2762"/>
              <a:ext cx="27" cy="22"/>
            </a:xfrm>
            <a:custGeom>
              <a:avLst/>
              <a:gdLst>
                <a:gd name="T0" fmla="*/ 2 w 114"/>
                <a:gd name="T1" fmla="*/ 0 h 96"/>
                <a:gd name="T2" fmla="*/ 3 w 114"/>
                <a:gd name="T3" fmla="*/ 0 h 96"/>
                <a:gd name="T4" fmla="*/ 5 w 114"/>
                <a:gd name="T5" fmla="*/ 0 h 96"/>
                <a:gd name="T6" fmla="*/ 6 w 114"/>
                <a:gd name="T7" fmla="*/ 2 h 96"/>
                <a:gd name="T8" fmla="*/ 6 w 114"/>
                <a:gd name="T9" fmla="*/ 5 h 96"/>
                <a:gd name="T10" fmla="*/ 1 w 114"/>
                <a:gd name="T11" fmla="*/ 5 h 96"/>
                <a:gd name="T12" fmla="*/ 0 w 114"/>
                <a:gd name="T13" fmla="*/ 3 h 96"/>
                <a:gd name="T14" fmla="*/ 2 w 114"/>
                <a:gd name="T15" fmla="*/ 3 h 96"/>
                <a:gd name="T16" fmla="*/ 2 w 114"/>
                <a:gd name="T17" fmla="*/ 2 h 96"/>
                <a:gd name="T18" fmla="*/ 2 w 11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96"/>
                <a:gd name="T32" fmla="*/ 114 w 11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96">
                  <a:moveTo>
                    <a:pt x="31" y="0"/>
                  </a:moveTo>
                  <a:lnTo>
                    <a:pt x="59" y="2"/>
                  </a:lnTo>
                  <a:lnTo>
                    <a:pt x="88" y="3"/>
                  </a:lnTo>
                  <a:lnTo>
                    <a:pt x="114" y="35"/>
                  </a:lnTo>
                  <a:lnTo>
                    <a:pt x="111" y="96"/>
                  </a:lnTo>
                  <a:lnTo>
                    <a:pt x="27" y="92"/>
                  </a:lnTo>
                  <a:lnTo>
                    <a:pt x="0" y="60"/>
                  </a:lnTo>
                  <a:lnTo>
                    <a:pt x="28" y="60"/>
                  </a:lnTo>
                  <a:lnTo>
                    <a:pt x="30" y="31"/>
                  </a:lnTo>
                  <a:lnTo>
                    <a:pt x="31" y="0"/>
                  </a:lnTo>
                  <a:close/>
                </a:path>
              </a:pathLst>
            </a:custGeom>
            <a:solidFill>
              <a:srgbClr val="B2C2D1"/>
            </a:solidFill>
            <a:ln w="9525">
              <a:noFill/>
              <a:round/>
              <a:headEnd/>
              <a:tailEnd/>
            </a:ln>
          </p:spPr>
          <p:txBody>
            <a:bodyPr/>
            <a:lstStyle/>
            <a:p>
              <a:endParaRPr lang="el-GR"/>
            </a:p>
          </p:txBody>
        </p:sp>
        <p:sp>
          <p:nvSpPr>
            <p:cNvPr id="237" name="Freeform 114"/>
            <p:cNvSpPr>
              <a:spLocks/>
            </p:cNvSpPr>
            <p:nvPr/>
          </p:nvSpPr>
          <p:spPr bwMode="auto">
            <a:xfrm>
              <a:off x="3840" y="2762"/>
              <a:ext cx="27" cy="22"/>
            </a:xfrm>
            <a:custGeom>
              <a:avLst/>
              <a:gdLst>
                <a:gd name="T0" fmla="*/ 2 w 114"/>
                <a:gd name="T1" fmla="*/ 0 h 96"/>
                <a:gd name="T2" fmla="*/ 3 w 114"/>
                <a:gd name="T3" fmla="*/ 0 h 96"/>
                <a:gd name="T4" fmla="*/ 5 w 114"/>
                <a:gd name="T5" fmla="*/ 0 h 96"/>
                <a:gd name="T6" fmla="*/ 6 w 114"/>
                <a:gd name="T7" fmla="*/ 2 h 96"/>
                <a:gd name="T8" fmla="*/ 6 w 114"/>
                <a:gd name="T9" fmla="*/ 5 h 96"/>
                <a:gd name="T10" fmla="*/ 1 w 114"/>
                <a:gd name="T11" fmla="*/ 5 h 96"/>
                <a:gd name="T12" fmla="*/ 0 w 114"/>
                <a:gd name="T13" fmla="*/ 3 h 96"/>
                <a:gd name="T14" fmla="*/ 2 w 114"/>
                <a:gd name="T15" fmla="*/ 3 h 96"/>
                <a:gd name="T16" fmla="*/ 2 w 114"/>
                <a:gd name="T17" fmla="*/ 2 h 96"/>
                <a:gd name="T18" fmla="*/ 2 w 11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4"/>
                <a:gd name="T31" fmla="*/ 0 h 96"/>
                <a:gd name="T32" fmla="*/ 114 w 11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4" h="96">
                  <a:moveTo>
                    <a:pt x="31" y="0"/>
                  </a:moveTo>
                  <a:lnTo>
                    <a:pt x="59" y="2"/>
                  </a:lnTo>
                  <a:lnTo>
                    <a:pt x="88" y="3"/>
                  </a:lnTo>
                  <a:lnTo>
                    <a:pt x="114" y="35"/>
                  </a:lnTo>
                  <a:lnTo>
                    <a:pt x="111" y="96"/>
                  </a:lnTo>
                  <a:lnTo>
                    <a:pt x="27" y="92"/>
                  </a:lnTo>
                  <a:lnTo>
                    <a:pt x="0" y="60"/>
                  </a:lnTo>
                  <a:lnTo>
                    <a:pt x="28" y="60"/>
                  </a:lnTo>
                  <a:lnTo>
                    <a:pt x="30" y="31"/>
                  </a:lnTo>
                  <a:lnTo>
                    <a:pt x="31" y="0"/>
                  </a:lnTo>
                </a:path>
              </a:pathLst>
            </a:custGeom>
            <a:solidFill>
              <a:srgbClr val="B2C2D1"/>
            </a:solidFill>
            <a:ln w="9525">
              <a:noFill/>
              <a:round/>
              <a:headEnd/>
              <a:tailEnd/>
            </a:ln>
          </p:spPr>
          <p:txBody>
            <a:bodyPr/>
            <a:lstStyle/>
            <a:p>
              <a:endParaRPr lang="el-GR"/>
            </a:p>
          </p:txBody>
        </p:sp>
        <p:sp>
          <p:nvSpPr>
            <p:cNvPr id="238" name="Freeform 115"/>
            <p:cNvSpPr>
              <a:spLocks/>
            </p:cNvSpPr>
            <p:nvPr/>
          </p:nvSpPr>
          <p:spPr bwMode="auto">
            <a:xfrm>
              <a:off x="3448" y="2823"/>
              <a:ext cx="34" cy="22"/>
            </a:xfrm>
            <a:custGeom>
              <a:avLst/>
              <a:gdLst>
                <a:gd name="T0" fmla="*/ 0 w 142"/>
                <a:gd name="T1" fmla="*/ 2 h 93"/>
                <a:gd name="T2" fmla="*/ 2 w 142"/>
                <a:gd name="T3" fmla="*/ 0 h 93"/>
                <a:gd name="T4" fmla="*/ 5 w 142"/>
                <a:gd name="T5" fmla="*/ 2 h 93"/>
                <a:gd name="T6" fmla="*/ 6 w 142"/>
                <a:gd name="T7" fmla="*/ 4 h 93"/>
                <a:gd name="T8" fmla="*/ 8 w 142"/>
                <a:gd name="T9" fmla="*/ 4 h 93"/>
                <a:gd name="T10" fmla="*/ 8 w 142"/>
                <a:gd name="T11" fmla="*/ 5 h 93"/>
                <a:gd name="T12" fmla="*/ 6 w 142"/>
                <a:gd name="T13" fmla="*/ 4 h 93"/>
                <a:gd name="T14" fmla="*/ 3 w 142"/>
                <a:gd name="T15" fmla="*/ 5 h 93"/>
                <a:gd name="T16" fmla="*/ 1 w 142"/>
                <a:gd name="T17" fmla="*/ 5 h 93"/>
                <a:gd name="T18" fmla="*/ 0 w 142"/>
                <a:gd name="T19" fmla="*/ 3 h 93"/>
                <a:gd name="T20" fmla="*/ 0 w 142"/>
                <a:gd name="T21" fmla="*/ 2 h 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2"/>
                <a:gd name="T34" fmla="*/ 0 h 93"/>
                <a:gd name="T35" fmla="*/ 142 w 142"/>
                <a:gd name="T36" fmla="*/ 93 h 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2" h="93">
                  <a:moveTo>
                    <a:pt x="2" y="29"/>
                  </a:moveTo>
                  <a:lnTo>
                    <a:pt x="32" y="0"/>
                  </a:lnTo>
                  <a:lnTo>
                    <a:pt x="87" y="33"/>
                  </a:lnTo>
                  <a:lnTo>
                    <a:pt x="114" y="63"/>
                  </a:lnTo>
                  <a:lnTo>
                    <a:pt x="142" y="64"/>
                  </a:lnTo>
                  <a:lnTo>
                    <a:pt x="140" y="93"/>
                  </a:lnTo>
                  <a:lnTo>
                    <a:pt x="114" y="63"/>
                  </a:lnTo>
                  <a:lnTo>
                    <a:pt x="56" y="89"/>
                  </a:lnTo>
                  <a:lnTo>
                    <a:pt x="27" y="88"/>
                  </a:lnTo>
                  <a:lnTo>
                    <a:pt x="0" y="58"/>
                  </a:lnTo>
                  <a:lnTo>
                    <a:pt x="2" y="29"/>
                  </a:lnTo>
                  <a:close/>
                </a:path>
              </a:pathLst>
            </a:custGeom>
            <a:solidFill>
              <a:srgbClr val="B2C2D1"/>
            </a:solidFill>
            <a:ln w="9525">
              <a:noFill/>
              <a:round/>
              <a:headEnd/>
              <a:tailEnd/>
            </a:ln>
          </p:spPr>
          <p:txBody>
            <a:bodyPr/>
            <a:lstStyle/>
            <a:p>
              <a:endParaRPr lang="el-GR"/>
            </a:p>
          </p:txBody>
        </p:sp>
        <p:sp>
          <p:nvSpPr>
            <p:cNvPr id="239" name="Freeform 116"/>
            <p:cNvSpPr>
              <a:spLocks/>
            </p:cNvSpPr>
            <p:nvPr/>
          </p:nvSpPr>
          <p:spPr bwMode="auto">
            <a:xfrm>
              <a:off x="3448" y="2823"/>
              <a:ext cx="34" cy="22"/>
            </a:xfrm>
            <a:custGeom>
              <a:avLst/>
              <a:gdLst>
                <a:gd name="T0" fmla="*/ 0 w 142"/>
                <a:gd name="T1" fmla="*/ 2 h 93"/>
                <a:gd name="T2" fmla="*/ 2 w 142"/>
                <a:gd name="T3" fmla="*/ 0 h 93"/>
                <a:gd name="T4" fmla="*/ 5 w 142"/>
                <a:gd name="T5" fmla="*/ 2 h 93"/>
                <a:gd name="T6" fmla="*/ 6 w 142"/>
                <a:gd name="T7" fmla="*/ 4 h 93"/>
                <a:gd name="T8" fmla="*/ 8 w 142"/>
                <a:gd name="T9" fmla="*/ 4 h 93"/>
                <a:gd name="T10" fmla="*/ 8 w 142"/>
                <a:gd name="T11" fmla="*/ 5 h 93"/>
                <a:gd name="T12" fmla="*/ 6 w 142"/>
                <a:gd name="T13" fmla="*/ 4 h 93"/>
                <a:gd name="T14" fmla="*/ 3 w 142"/>
                <a:gd name="T15" fmla="*/ 5 h 93"/>
                <a:gd name="T16" fmla="*/ 1 w 142"/>
                <a:gd name="T17" fmla="*/ 5 h 93"/>
                <a:gd name="T18" fmla="*/ 0 w 142"/>
                <a:gd name="T19" fmla="*/ 3 h 93"/>
                <a:gd name="T20" fmla="*/ 0 w 142"/>
                <a:gd name="T21" fmla="*/ 2 h 9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2"/>
                <a:gd name="T34" fmla="*/ 0 h 93"/>
                <a:gd name="T35" fmla="*/ 142 w 142"/>
                <a:gd name="T36" fmla="*/ 93 h 9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2" h="93">
                  <a:moveTo>
                    <a:pt x="2" y="29"/>
                  </a:moveTo>
                  <a:lnTo>
                    <a:pt x="32" y="0"/>
                  </a:lnTo>
                  <a:lnTo>
                    <a:pt x="87" y="33"/>
                  </a:lnTo>
                  <a:lnTo>
                    <a:pt x="114" y="63"/>
                  </a:lnTo>
                  <a:lnTo>
                    <a:pt x="142" y="64"/>
                  </a:lnTo>
                  <a:lnTo>
                    <a:pt x="140" y="93"/>
                  </a:lnTo>
                  <a:lnTo>
                    <a:pt x="114" y="63"/>
                  </a:lnTo>
                  <a:lnTo>
                    <a:pt x="56" y="89"/>
                  </a:lnTo>
                  <a:lnTo>
                    <a:pt x="27" y="88"/>
                  </a:lnTo>
                  <a:lnTo>
                    <a:pt x="0" y="58"/>
                  </a:lnTo>
                  <a:lnTo>
                    <a:pt x="2" y="29"/>
                  </a:lnTo>
                </a:path>
              </a:pathLst>
            </a:custGeom>
            <a:solidFill>
              <a:srgbClr val="B2C2D1"/>
            </a:solidFill>
            <a:ln w="9525">
              <a:noFill/>
              <a:round/>
              <a:headEnd/>
              <a:tailEnd/>
            </a:ln>
          </p:spPr>
          <p:txBody>
            <a:bodyPr/>
            <a:lstStyle/>
            <a:p>
              <a:endParaRPr lang="el-GR"/>
            </a:p>
          </p:txBody>
        </p:sp>
        <p:sp>
          <p:nvSpPr>
            <p:cNvPr id="240" name="Freeform 117"/>
            <p:cNvSpPr>
              <a:spLocks/>
            </p:cNvSpPr>
            <p:nvPr/>
          </p:nvSpPr>
          <p:spPr bwMode="auto">
            <a:xfrm>
              <a:off x="3266" y="2695"/>
              <a:ext cx="35" cy="28"/>
            </a:xfrm>
            <a:custGeom>
              <a:avLst/>
              <a:gdLst>
                <a:gd name="T0" fmla="*/ 2 w 148"/>
                <a:gd name="T1" fmla="*/ 5 h 118"/>
                <a:gd name="T2" fmla="*/ 3 w 148"/>
                <a:gd name="T3" fmla="*/ 5 h 118"/>
                <a:gd name="T4" fmla="*/ 5 w 148"/>
                <a:gd name="T5" fmla="*/ 4 h 118"/>
                <a:gd name="T6" fmla="*/ 7 w 148"/>
                <a:gd name="T7" fmla="*/ 2 h 118"/>
                <a:gd name="T8" fmla="*/ 7 w 148"/>
                <a:gd name="T9" fmla="*/ 0 h 118"/>
                <a:gd name="T10" fmla="*/ 8 w 148"/>
                <a:gd name="T11" fmla="*/ 0 h 118"/>
                <a:gd name="T12" fmla="*/ 7 w 148"/>
                <a:gd name="T13" fmla="*/ 0 h 118"/>
                <a:gd name="T14" fmla="*/ 5 w 148"/>
                <a:gd name="T15" fmla="*/ 0 h 118"/>
                <a:gd name="T16" fmla="*/ 4 w 148"/>
                <a:gd name="T17" fmla="*/ 0 h 118"/>
                <a:gd name="T18" fmla="*/ 0 w 148"/>
                <a:gd name="T19" fmla="*/ 2 h 118"/>
                <a:gd name="T20" fmla="*/ 0 w 148"/>
                <a:gd name="T21" fmla="*/ 3 h 118"/>
                <a:gd name="T22" fmla="*/ 0 w 148"/>
                <a:gd name="T23" fmla="*/ 5 h 118"/>
                <a:gd name="T24" fmla="*/ 0 w 148"/>
                <a:gd name="T25" fmla="*/ 7 h 118"/>
                <a:gd name="T26" fmla="*/ 2 w 148"/>
                <a:gd name="T27" fmla="*/ 5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8"/>
                <a:gd name="T43" fmla="*/ 0 h 118"/>
                <a:gd name="T44" fmla="*/ 148 w 148"/>
                <a:gd name="T45" fmla="*/ 118 h 1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8" h="118">
                  <a:moveTo>
                    <a:pt x="30" y="90"/>
                  </a:moveTo>
                  <a:lnTo>
                    <a:pt x="59" y="91"/>
                  </a:lnTo>
                  <a:lnTo>
                    <a:pt x="89" y="62"/>
                  </a:lnTo>
                  <a:lnTo>
                    <a:pt x="119" y="34"/>
                  </a:lnTo>
                  <a:lnTo>
                    <a:pt x="120" y="4"/>
                  </a:lnTo>
                  <a:lnTo>
                    <a:pt x="148" y="6"/>
                  </a:lnTo>
                  <a:lnTo>
                    <a:pt x="120" y="4"/>
                  </a:lnTo>
                  <a:lnTo>
                    <a:pt x="92" y="3"/>
                  </a:lnTo>
                  <a:lnTo>
                    <a:pt x="64" y="0"/>
                  </a:lnTo>
                  <a:lnTo>
                    <a:pt x="5" y="29"/>
                  </a:lnTo>
                  <a:lnTo>
                    <a:pt x="3" y="58"/>
                  </a:lnTo>
                  <a:lnTo>
                    <a:pt x="2" y="88"/>
                  </a:lnTo>
                  <a:lnTo>
                    <a:pt x="0" y="118"/>
                  </a:lnTo>
                  <a:lnTo>
                    <a:pt x="30" y="90"/>
                  </a:lnTo>
                  <a:close/>
                </a:path>
              </a:pathLst>
            </a:custGeom>
            <a:solidFill>
              <a:srgbClr val="B2C2D1"/>
            </a:solidFill>
            <a:ln w="9525">
              <a:noFill/>
              <a:round/>
              <a:headEnd/>
              <a:tailEnd/>
            </a:ln>
          </p:spPr>
          <p:txBody>
            <a:bodyPr/>
            <a:lstStyle/>
            <a:p>
              <a:endParaRPr lang="el-GR"/>
            </a:p>
          </p:txBody>
        </p:sp>
        <p:sp>
          <p:nvSpPr>
            <p:cNvPr id="241" name="Freeform 118"/>
            <p:cNvSpPr>
              <a:spLocks/>
            </p:cNvSpPr>
            <p:nvPr/>
          </p:nvSpPr>
          <p:spPr bwMode="auto">
            <a:xfrm>
              <a:off x="3266" y="2695"/>
              <a:ext cx="35" cy="28"/>
            </a:xfrm>
            <a:custGeom>
              <a:avLst/>
              <a:gdLst>
                <a:gd name="T0" fmla="*/ 2 w 148"/>
                <a:gd name="T1" fmla="*/ 5 h 118"/>
                <a:gd name="T2" fmla="*/ 3 w 148"/>
                <a:gd name="T3" fmla="*/ 5 h 118"/>
                <a:gd name="T4" fmla="*/ 5 w 148"/>
                <a:gd name="T5" fmla="*/ 4 h 118"/>
                <a:gd name="T6" fmla="*/ 7 w 148"/>
                <a:gd name="T7" fmla="*/ 2 h 118"/>
                <a:gd name="T8" fmla="*/ 7 w 148"/>
                <a:gd name="T9" fmla="*/ 0 h 118"/>
                <a:gd name="T10" fmla="*/ 8 w 148"/>
                <a:gd name="T11" fmla="*/ 0 h 118"/>
                <a:gd name="T12" fmla="*/ 7 w 148"/>
                <a:gd name="T13" fmla="*/ 0 h 118"/>
                <a:gd name="T14" fmla="*/ 5 w 148"/>
                <a:gd name="T15" fmla="*/ 0 h 118"/>
                <a:gd name="T16" fmla="*/ 4 w 148"/>
                <a:gd name="T17" fmla="*/ 0 h 118"/>
                <a:gd name="T18" fmla="*/ 0 w 148"/>
                <a:gd name="T19" fmla="*/ 2 h 118"/>
                <a:gd name="T20" fmla="*/ 0 w 148"/>
                <a:gd name="T21" fmla="*/ 3 h 118"/>
                <a:gd name="T22" fmla="*/ 0 w 148"/>
                <a:gd name="T23" fmla="*/ 5 h 118"/>
                <a:gd name="T24" fmla="*/ 0 w 148"/>
                <a:gd name="T25" fmla="*/ 7 h 118"/>
                <a:gd name="T26" fmla="*/ 2 w 148"/>
                <a:gd name="T27" fmla="*/ 5 h 1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8"/>
                <a:gd name="T43" fmla="*/ 0 h 118"/>
                <a:gd name="T44" fmla="*/ 148 w 148"/>
                <a:gd name="T45" fmla="*/ 118 h 1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8" h="118">
                  <a:moveTo>
                    <a:pt x="30" y="90"/>
                  </a:moveTo>
                  <a:lnTo>
                    <a:pt x="59" y="91"/>
                  </a:lnTo>
                  <a:lnTo>
                    <a:pt x="89" y="62"/>
                  </a:lnTo>
                  <a:lnTo>
                    <a:pt x="119" y="34"/>
                  </a:lnTo>
                  <a:lnTo>
                    <a:pt x="120" y="4"/>
                  </a:lnTo>
                  <a:lnTo>
                    <a:pt x="148" y="6"/>
                  </a:lnTo>
                  <a:lnTo>
                    <a:pt x="120" y="4"/>
                  </a:lnTo>
                  <a:lnTo>
                    <a:pt x="92" y="3"/>
                  </a:lnTo>
                  <a:lnTo>
                    <a:pt x="64" y="0"/>
                  </a:lnTo>
                  <a:lnTo>
                    <a:pt x="5" y="29"/>
                  </a:lnTo>
                  <a:lnTo>
                    <a:pt x="3" y="58"/>
                  </a:lnTo>
                  <a:lnTo>
                    <a:pt x="2" y="88"/>
                  </a:lnTo>
                  <a:lnTo>
                    <a:pt x="0" y="118"/>
                  </a:lnTo>
                  <a:lnTo>
                    <a:pt x="30" y="90"/>
                  </a:lnTo>
                </a:path>
              </a:pathLst>
            </a:custGeom>
            <a:solidFill>
              <a:srgbClr val="B2C2D1"/>
            </a:solidFill>
            <a:ln w="9525">
              <a:noFill/>
              <a:round/>
              <a:headEnd/>
              <a:tailEnd/>
            </a:ln>
          </p:spPr>
          <p:txBody>
            <a:bodyPr/>
            <a:lstStyle/>
            <a:p>
              <a:endParaRPr lang="el-GR"/>
            </a:p>
          </p:txBody>
        </p:sp>
        <p:sp>
          <p:nvSpPr>
            <p:cNvPr id="242" name="Freeform 119"/>
            <p:cNvSpPr>
              <a:spLocks/>
            </p:cNvSpPr>
            <p:nvPr/>
          </p:nvSpPr>
          <p:spPr bwMode="auto">
            <a:xfrm>
              <a:off x="3253" y="2563"/>
              <a:ext cx="28" cy="41"/>
            </a:xfrm>
            <a:custGeom>
              <a:avLst/>
              <a:gdLst>
                <a:gd name="T0" fmla="*/ 3 w 117"/>
                <a:gd name="T1" fmla="*/ 8 h 174"/>
                <a:gd name="T2" fmla="*/ 5 w 117"/>
                <a:gd name="T3" fmla="*/ 10 h 174"/>
                <a:gd name="T4" fmla="*/ 3 w 117"/>
                <a:gd name="T5" fmla="*/ 8 h 174"/>
                <a:gd name="T6" fmla="*/ 1 w 117"/>
                <a:gd name="T7" fmla="*/ 8 h 174"/>
                <a:gd name="T8" fmla="*/ 0 w 117"/>
                <a:gd name="T9" fmla="*/ 6 h 174"/>
                <a:gd name="T10" fmla="*/ 2 w 117"/>
                <a:gd name="T11" fmla="*/ 6 h 174"/>
                <a:gd name="T12" fmla="*/ 0 w 117"/>
                <a:gd name="T13" fmla="*/ 4 h 174"/>
                <a:gd name="T14" fmla="*/ 2 w 117"/>
                <a:gd name="T15" fmla="*/ 3 h 174"/>
                <a:gd name="T16" fmla="*/ 3 w 117"/>
                <a:gd name="T17" fmla="*/ 3 h 174"/>
                <a:gd name="T18" fmla="*/ 4 w 117"/>
                <a:gd name="T19" fmla="*/ 1 h 174"/>
                <a:gd name="T20" fmla="*/ 5 w 117"/>
                <a:gd name="T21" fmla="*/ 0 h 174"/>
                <a:gd name="T22" fmla="*/ 7 w 117"/>
                <a:gd name="T23" fmla="*/ 2 h 174"/>
                <a:gd name="T24" fmla="*/ 5 w 117"/>
                <a:gd name="T25" fmla="*/ 3 h 174"/>
                <a:gd name="T26" fmla="*/ 5 w 117"/>
                <a:gd name="T27" fmla="*/ 6 h 174"/>
                <a:gd name="T28" fmla="*/ 3 w 117"/>
                <a:gd name="T29" fmla="*/ 6 h 174"/>
                <a:gd name="T30" fmla="*/ 3 w 117"/>
                <a:gd name="T31" fmla="*/ 8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7"/>
                <a:gd name="T49" fmla="*/ 0 h 174"/>
                <a:gd name="T50" fmla="*/ 117 w 117"/>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7" h="174">
                  <a:moveTo>
                    <a:pt x="54" y="143"/>
                  </a:moveTo>
                  <a:lnTo>
                    <a:pt x="81" y="174"/>
                  </a:lnTo>
                  <a:lnTo>
                    <a:pt x="54" y="143"/>
                  </a:lnTo>
                  <a:lnTo>
                    <a:pt x="26" y="142"/>
                  </a:lnTo>
                  <a:lnTo>
                    <a:pt x="0" y="112"/>
                  </a:lnTo>
                  <a:lnTo>
                    <a:pt x="28" y="113"/>
                  </a:lnTo>
                  <a:lnTo>
                    <a:pt x="1" y="82"/>
                  </a:lnTo>
                  <a:lnTo>
                    <a:pt x="30" y="55"/>
                  </a:lnTo>
                  <a:lnTo>
                    <a:pt x="59" y="56"/>
                  </a:lnTo>
                  <a:lnTo>
                    <a:pt x="61" y="27"/>
                  </a:lnTo>
                  <a:lnTo>
                    <a:pt x="91" y="0"/>
                  </a:lnTo>
                  <a:lnTo>
                    <a:pt x="117" y="30"/>
                  </a:lnTo>
                  <a:lnTo>
                    <a:pt x="88" y="58"/>
                  </a:lnTo>
                  <a:lnTo>
                    <a:pt x="83" y="116"/>
                  </a:lnTo>
                  <a:lnTo>
                    <a:pt x="56" y="115"/>
                  </a:lnTo>
                  <a:lnTo>
                    <a:pt x="54" y="143"/>
                  </a:lnTo>
                  <a:close/>
                </a:path>
              </a:pathLst>
            </a:custGeom>
            <a:solidFill>
              <a:srgbClr val="B2C2D1"/>
            </a:solidFill>
            <a:ln w="9525">
              <a:noFill/>
              <a:round/>
              <a:headEnd/>
              <a:tailEnd/>
            </a:ln>
          </p:spPr>
          <p:txBody>
            <a:bodyPr/>
            <a:lstStyle/>
            <a:p>
              <a:endParaRPr lang="el-GR"/>
            </a:p>
          </p:txBody>
        </p:sp>
        <p:sp>
          <p:nvSpPr>
            <p:cNvPr id="243" name="Freeform 120"/>
            <p:cNvSpPr>
              <a:spLocks/>
            </p:cNvSpPr>
            <p:nvPr/>
          </p:nvSpPr>
          <p:spPr bwMode="auto">
            <a:xfrm>
              <a:off x="3253" y="2563"/>
              <a:ext cx="28" cy="41"/>
            </a:xfrm>
            <a:custGeom>
              <a:avLst/>
              <a:gdLst>
                <a:gd name="T0" fmla="*/ 3 w 117"/>
                <a:gd name="T1" fmla="*/ 8 h 174"/>
                <a:gd name="T2" fmla="*/ 5 w 117"/>
                <a:gd name="T3" fmla="*/ 10 h 174"/>
                <a:gd name="T4" fmla="*/ 3 w 117"/>
                <a:gd name="T5" fmla="*/ 8 h 174"/>
                <a:gd name="T6" fmla="*/ 1 w 117"/>
                <a:gd name="T7" fmla="*/ 8 h 174"/>
                <a:gd name="T8" fmla="*/ 0 w 117"/>
                <a:gd name="T9" fmla="*/ 6 h 174"/>
                <a:gd name="T10" fmla="*/ 2 w 117"/>
                <a:gd name="T11" fmla="*/ 6 h 174"/>
                <a:gd name="T12" fmla="*/ 0 w 117"/>
                <a:gd name="T13" fmla="*/ 4 h 174"/>
                <a:gd name="T14" fmla="*/ 2 w 117"/>
                <a:gd name="T15" fmla="*/ 3 h 174"/>
                <a:gd name="T16" fmla="*/ 3 w 117"/>
                <a:gd name="T17" fmla="*/ 3 h 174"/>
                <a:gd name="T18" fmla="*/ 4 w 117"/>
                <a:gd name="T19" fmla="*/ 1 h 174"/>
                <a:gd name="T20" fmla="*/ 5 w 117"/>
                <a:gd name="T21" fmla="*/ 0 h 174"/>
                <a:gd name="T22" fmla="*/ 7 w 117"/>
                <a:gd name="T23" fmla="*/ 2 h 174"/>
                <a:gd name="T24" fmla="*/ 5 w 117"/>
                <a:gd name="T25" fmla="*/ 3 h 174"/>
                <a:gd name="T26" fmla="*/ 5 w 117"/>
                <a:gd name="T27" fmla="*/ 6 h 174"/>
                <a:gd name="T28" fmla="*/ 3 w 117"/>
                <a:gd name="T29" fmla="*/ 6 h 174"/>
                <a:gd name="T30" fmla="*/ 3 w 117"/>
                <a:gd name="T31" fmla="*/ 8 h 17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7"/>
                <a:gd name="T49" fmla="*/ 0 h 174"/>
                <a:gd name="T50" fmla="*/ 117 w 117"/>
                <a:gd name="T51" fmla="*/ 174 h 17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7" h="174">
                  <a:moveTo>
                    <a:pt x="54" y="143"/>
                  </a:moveTo>
                  <a:lnTo>
                    <a:pt x="81" y="174"/>
                  </a:lnTo>
                  <a:lnTo>
                    <a:pt x="54" y="143"/>
                  </a:lnTo>
                  <a:lnTo>
                    <a:pt x="26" y="142"/>
                  </a:lnTo>
                  <a:lnTo>
                    <a:pt x="0" y="112"/>
                  </a:lnTo>
                  <a:lnTo>
                    <a:pt x="28" y="113"/>
                  </a:lnTo>
                  <a:lnTo>
                    <a:pt x="1" y="82"/>
                  </a:lnTo>
                  <a:lnTo>
                    <a:pt x="30" y="55"/>
                  </a:lnTo>
                  <a:lnTo>
                    <a:pt x="59" y="56"/>
                  </a:lnTo>
                  <a:lnTo>
                    <a:pt x="61" y="27"/>
                  </a:lnTo>
                  <a:lnTo>
                    <a:pt x="91" y="0"/>
                  </a:lnTo>
                  <a:lnTo>
                    <a:pt x="117" y="30"/>
                  </a:lnTo>
                  <a:lnTo>
                    <a:pt x="88" y="58"/>
                  </a:lnTo>
                  <a:lnTo>
                    <a:pt x="83" y="116"/>
                  </a:lnTo>
                  <a:lnTo>
                    <a:pt x="56" y="115"/>
                  </a:lnTo>
                  <a:lnTo>
                    <a:pt x="54" y="143"/>
                  </a:lnTo>
                </a:path>
              </a:pathLst>
            </a:custGeom>
            <a:solidFill>
              <a:srgbClr val="B2C2D1"/>
            </a:solidFill>
            <a:ln w="9525">
              <a:noFill/>
              <a:round/>
              <a:headEnd/>
              <a:tailEnd/>
            </a:ln>
          </p:spPr>
          <p:txBody>
            <a:bodyPr/>
            <a:lstStyle/>
            <a:p>
              <a:endParaRPr lang="el-GR"/>
            </a:p>
          </p:txBody>
        </p:sp>
        <p:sp>
          <p:nvSpPr>
            <p:cNvPr id="244" name="Freeform 121"/>
            <p:cNvSpPr>
              <a:spLocks/>
            </p:cNvSpPr>
            <p:nvPr/>
          </p:nvSpPr>
          <p:spPr bwMode="auto">
            <a:xfrm>
              <a:off x="3694" y="2454"/>
              <a:ext cx="28" cy="41"/>
            </a:xfrm>
            <a:custGeom>
              <a:avLst/>
              <a:gdLst>
                <a:gd name="T0" fmla="*/ 2 w 117"/>
                <a:gd name="T1" fmla="*/ 8 h 175"/>
                <a:gd name="T2" fmla="*/ 3 w 117"/>
                <a:gd name="T3" fmla="*/ 8 h 175"/>
                <a:gd name="T4" fmla="*/ 2 w 117"/>
                <a:gd name="T5" fmla="*/ 6 h 175"/>
                <a:gd name="T6" fmla="*/ 2 w 117"/>
                <a:gd name="T7" fmla="*/ 3 h 175"/>
                <a:gd name="T8" fmla="*/ 4 w 117"/>
                <a:gd name="T9" fmla="*/ 3 h 175"/>
                <a:gd name="T10" fmla="*/ 7 w 117"/>
                <a:gd name="T11" fmla="*/ 5 h 175"/>
                <a:gd name="T12" fmla="*/ 5 w 117"/>
                <a:gd name="T13" fmla="*/ 4 h 175"/>
                <a:gd name="T14" fmla="*/ 4 w 117"/>
                <a:gd name="T15" fmla="*/ 2 h 175"/>
                <a:gd name="T16" fmla="*/ 2 w 117"/>
                <a:gd name="T17" fmla="*/ 2 h 175"/>
                <a:gd name="T18" fmla="*/ 2 w 117"/>
                <a:gd name="T19" fmla="*/ 0 h 175"/>
                <a:gd name="T20" fmla="*/ 0 w 117"/>
                <a:gd name="T21" fmla="*/ 3 h 175"/>
                <a:gd name="T22" fmla="*/ 2 w 117"/>
                <a:gd name="T23" fmla="*/ 5 h 175"/>
                <a:gd name="T24" fmla="*/ 0 w 117"/>
                <a:gd name="T25" fmla="*/ 5 h 175"/>
                <a:gd name="T26" fmla="*/ 0 w 117"/>
                <a:gd name="T27" fmla="*/ 6 h 175"/>
                <a:gd name="T28" fmla="*/ 0 w 117"/>
                <a:gd name="T29" fmla="*/ 8 h 175"/>
                <a:gd name="T30" fmla="*/ 1 w 117"/>
                <a:gd name="T31" fmla="*/ 10 h 175"/>
                <a:gd name="T32" fmla="*/ 3 w 117"/>
                <a:gd name="T33" fmla="*/ 10 h 175"/>
                <a:gd name="T34" fmla="*/ 2 w 117"/>
                <a:gd name="T35" fmla="*/ 8 h 1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7"/>
                <a:gd name="T55" fmla="*/ 0 h 175"/>
                <a:gd name="T56" fmla="*/ 117 w 117"/>
                <a:gd name="T57" fmla="*/ 175 h 1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7" h="175">
                  <a:moveTo>
                    <a:pt x="29" y="145"/>
                  </a:moveTo>
                  <a:lnTo>
                    <a:pt x="57" y="147"/>
                  </a:lnTo>
                  <a:lnTo>
                    <a:pt x="30" y="116"/>
                  </a:lnTo>
                  <a:lnTo>
                    <a:pt x="33" y="59"/>
                  </a:lnTo>
                  <a:lnTo>
                    <a:pt x="61" y="60"/>
                  </a:lnTo>
                  <a:lnTo>
                    <a:pt x="117" y="91"/>
                  </a:lnTo>
                  <a:lnTo>
                    <a:pt x="90" y="62"/>
                  </a:lnTo>
                  <a:lnTo>
                    <a:pt x="62" y="30"/>
                  </a:lnTo>
                  <a:lnTo>
                    <a:pt x="34" y="29"/>
                  </a:lnTo>
                  <a:lnTo>
                    <a:pt x="35" y="0"/>
                  </a:lnTo>
                  <a:lnTo>
                    <a:pt x="5" y="56"/>
                  </a:lnTo>
                  <a:lnTo>
                    <a:pt x="32" y="88"/>
                  </a:lnTo>
                  <a:lnTo>
                    <a:pt x="4" y="86"/>
                  </a:lnTo>
                  <a:lnTo>
                    <a:pt x="2" y="114"/>
                  </a:lnTo>
                  <a:lnTo>
                    <a:pt x="0" y="144"/>
                  </a:lnTo>
                  <a:lnTo>
                    <a:pt x="27" y="174"/>
                  </a:lnTo>
                  <a:lnTo>
                    <a:pt x="55" y="175"/>
                  </a:lnTo>
                  <a:lnTo>
                    <a:pt x="29" y="145"/>
                  </a:lnTo>
                  <a:close/>
                </a:path>
              </a:pathLst>
            </a:custGeom>
            <a:solidFill>
              <a:srgbClr val="B2C2D1"/>
            </a:solidFill>
            <a:ln w="9525">
              <a:noFill/>
              <a:round/>
              <a:headEnd/>
              <a:tailEnd/>
            </a:ln>
          </p:spPr>
          <p:txBody>
            <a:bodyPr/>
            <a:lstStyle/>
            <a:p>
              <a:endParaRPr lang="el-GR"/>
            </a:p>
          </p:txBody>
        </p:sp>
        <p:sp>
          <p:nvSpPr>
            <p:cNvPr id="245" name="Freeform 122"/>
            <p:cNvSpPr>
              <a:spLocks/>
            </p:cNvSpPr>
            <p:nvPr/>
          </p:nvSpPr>
          <p:spPr bwMode="auto">
            <a:xfrm>
              <a:off x="3694" y="2454"/>
              <a:ext cx="28" cy="41"/>
            </a:xfrm>
            <a:custGeom>
              <a:avLst/>
              <a:gdLst>
                <a:gd name="T0" fmla="*/ 2 w 117"/>
                <a:gd name="T1" fmla="*/ 8 h 175"/>
                <a:gd name="T2" fmla="*/ 3 w 117"/>
                <a:gd name="T3" fmla="*/ 8 h 175"/>
                <a:gd name="T4" fmla="*/ 2 w 117"/>
                <a:gd name="T5" fmla="*/ 6 h 175"/>
                <a:gd name="T6" fmla="*/ 2 w 117"/>
                <a:gd name="T7" fmla="*/ 3 h 175"/>
                <a:gd name="T8" fmla="*/ 4 w 117"/>
                <a:gd name="T9" fmla="*/ 3 h 175"/>
                <a:gd name="T10" fmla="*/ 7 w 117"/>
                <a:gd name="T11" fmla="*/ 5 h 175"/>
                <a:gd name="T12" fmla="*/ 5 w 117"/>
                <a:gd name="T13" fmla="*/ 4 h 175"/>
                <a:gd name="T14" fmla="*/ 4 w 117"/>
                <a:gd name="T15" fmla="*/ 2 h 175"/>
                <a:gd name="T16" fmla="*/ 2 w 117"/>
                <a:gd name="T17" fmla="*/ 2 h 175"/>
                <a:gd name="T18" fmla="*/ 2 w 117"/>
                <a:gd name="T19" fmla="*/ 0 h 175"/>
                <a:gd name="T20" fmla="*/ 0 w 117"/>
                <a:gd name="T21" fmla="*/ 3 h 175"/>
                <a:gd name="T22" fmla="*/ 2 w 117"/>
                <a:gd name="T23" fmla="*/ 5 h 175"/>
                <a:gd name="T24" fmla="*/ 0 w 117"/>
                <a:gd name="T25" fmla="*/ 5 h 175"/>
                <a:gd name="T26" fmla="*/ 0 w 117"/>
                <a:gd name="T27" fmla="*/ 6 h 175"/>
                <a:gd name="T28" fmla="*/ 0 w 117"/>
                <a:gd name="T29" fmla="*/ 8 h 175"/>
                <a:gd name="T30" fmla="*/ 1 w 117"/>
                <a:gd name="T31" fmla="*/ 10 h 175"/>
                <a:gd name="T32" fmla="*/ 3 w 117"/>
                <a:gd name="T33" fmla="*/ 10 h 175"/>
                <a:gd name="T34" fmla="*/ 2 w 117"/>
                <a:gd name="T35" fmla="*/ 8 h 1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7"/>
                <a:gd name="T55" fmla="*/ 0 h 175"/>
                <a:gd name="T56" fmla="*/ 117 w 117"/>
                <a:gd name="T57" fmla="*/ 175 h 1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7" h="175">
                  <a:moveTo>
                    <a:pt x="29" y="145"/>
                  </a:moveTo>
                  <a:lnTo>
                    <a:pt x="57" y="147"/>
                  </a:lnTo>
                  <a:lnTo>
                    <a:pt x="30" y="116"/>
                  </a:lnTo>
                  <a:lnTo>
                    <a:pt x="33" y="59"/>
                  </a:lnTo>
                  <a:lnTo>
                    <a:pt x="61" y="60"/>
                  </a:lnTo>
                  <a:lnTo>
                    <a:pt x="117" y="91"/>
                  </a:lnTo>
                  <a:lnTo>
                    <a:pt x="90" y="62"/>
                  </a:lnTo>
                  <a:lnTo>
                    <a:pt x="62" y="30"/>
                  </a:lnTo>
                  <a:lnTo>
                    <a:pt x="34" y="29"/>
                  </a:lnTo>
                  <a:lnTo>
                    <a:pt x="35" y="0"/>
                  </a:lnTo>
                  <a:lnTo>
                    <a:pt x="5" y="56"/>
                  </a:lnTo>
                  <a:lnTo>
                    <a:pt x="32" y="88"/>
                  </a:lnTo>
                  <a:lnTo>
                    <a:pt x="4" y="86"/>
                  </a:lnTo>
                  <a:lnTo>
                    <a:pt x="2" y="114"/>
                  </a:lnTo>
                  <a:lnTo>
                    <a:pt x="0" y="144"/>
                  </a:lnTo>
                  <a:lnTo>
                    <a:pt x="27" y="174"/>
                  </a:lnTo>
                  <a:lnTo>
                    <a:pt x="55" y="175"/>
                  </a:lnTo>
                  <a:lnTo>
                    <a:pt x="29" y="145"/>
                  </a:lnTo>
                </a:path>
              </a:pathLst>
            </a:custGeom>
            <a:solidFill>
              <a:srgbClr val="B2C2D1"/>
            </a:solidFill>
            <a:ln w="9525">
              <a:noFill/>
              <a:round/>
              <a:headEnd/>
              <a:tailEnd/>
            </a:ln>
          </p:spPr>
          <p:txBody>
            <a:bodyPr/>
            <a:lstStyle/>
            <a:p>
              <a:endParaRPr lang="el-GR"/>
            </a:p>
          </p:txBody>
        </p:sp>
        <p:sp>
          <p:nvSpPr>
            <p:cNvPr id="246" name="Freeform 123"/>
            <p:cNvSpPr>
              <a:spLocks/>
            </p:cNvSpPr>
            <p:nvPr/>
          </p:nvSpPr>
          <p:spPr bwMode="auto">
            <a:xfrm>
              <a:off x="3200" y="2706"/>
              <a:ext cx="33" cy="28"/>
            </a:xfrm>
            <a:custGeom>
              <a:avLst/>
              <a:gdLst>
                <a:gd name="T0" fmla="*/ 6 w 139"/>
                <a:gd name="T1" fmla="*/ 6 h 122"/>
                <a:gd name="T2" fmla="*/ 8 w 139"/>
                <a:gd name="T3" fmla="*/ 5 h 122"/>
                <a:gd name="T4" fmla="*/ 5 w 139"/>
                <a:gd name="T5" fmla="*/ 2 h 122"/>
                <a:gd name="T6" fmla="*/ 3 w 139"/>
                <a:gd name="T7" fmla="*/ 2 h 122"/>
                <a:gd name="T8" fmla="*/ 0 w 139"/>
                <a:gd name="T9" fmla="*/ 0 h 122"/>
                <a:gd name="T10" fmla="*/ 0 w 139"/>
                <a:gd name="T11" fmla="*/ 2 h 122"/>
                <a:gd name="T12" fmla="*/ 1 w 139"/>
                <a:gd name="T13" fmla="*/ 3 h 122"/>
                <a:gd name="T14" fmla="*/ 3 w 139"/>
                <a:gd name="T15" fmla="*/ 3 h 122"/>
                <a:gd name="T16" fmla="*/ 3 w 139"/>
                <a:gd name="T17" fmla="*/ 5 h 122"/>
                <a:gd name="T18" fmla="*/ 5 w 139"/>
                <a:gd name="T19" fmla="*/ 6 h 122"/>
                <a:gd name="T20" fmla="*/ 6 w 139"/>
                <a:gd name="T21" fmla="*/ 6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9"/>
                <a:gd name="T34" fmla="*/ 0 h 122"/>
                <a:gd name="T35" fmla="*/ 139 w 139"/>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9" h="122">
                  <a:moveTo>
                    <a:pt x="108" y="122"/>
                  </a:moveTo>
                  <a:lnTo>
                    <a:pt x="139" y="94"/>
                  </a:lnTo>
                  <a:lnTo>
                    <a:pt x="86" y="33"/>
                  </a:lnTo>
                  <a:lnTo>
                    <a:pt x="56" y="31"/>
                  </a:lnTo>
                  <a:lnTo>
                    <a:pt x="1" y="0"/>
                  </a:lnTo>
                  <a:lnTo>
                    <a:pt x="0" y="29"/>
                  </a:lnTo>
                  <a:lnTo>
                    <a:pt x="27" y="59"/>
                  </a:lnTo>
                  <a:lnTo>
                    <a:pt x="55" y="61"/>
                  </a:lnTo>
                  <a:lnTo>
                    <a:pt x="54" y="90"/>
                  </a:lnTo>
                  <a:lnTo>
                    <a:pt x="81" y="120"/>
                  </a:lnTo>
                  <a:lnTo>
                    <a:pt x="108" y="122"/>
                  </a:lnTo>
                  <a:close/>
                </a:path>
              </a:pathLst>
            </a:custGeom>
            <a:solidFill>
              <a:srgbClr val="B2C2D1"/>
            </a:solidFill>
            <a:ln w="9525">
              <a:noFill/>
              <a:round/>
              <a:headEnd/>
              <a:tailEnd/>
            </a:ln>
          </p:spPr>
          <p:txBody>
            <a:bodyPr/>
            <a:lstStyle/>
            <a:p>
              <a:endParaRPr lang="el-GR"/>
            </a:p>
          </p:txBody>
        </p:sp>
        <p:sp>
          <p:nvSpPr>
            <p:cNvPr id="247" name="Freeform 124"/>
            <p:cNvSpPr>
              <a:spLocks/>
            </p:cNvSpPr>
            <p:nvPr/>
          </p:nvSpPr>
          <p:spPr bwMode="auto">
            <a:xfrm>
              <a:off x="3200" y="2706"/>
              <a:ext cx="33" cy="28"/>
            </a:xfrm>
            <a:custGeom>
              <a:avLst/>
              <a:gdLst>
                <a:gd name="T0" fmla="*/ 6 w 139"/>
                <a:gd name="T1" fmla="*/ 6 h 122"/>
                <a:gd name="T2" fmla="*/ 8 w 139"/>
                <a:gd name="T3" fmla="*/ 5 h 122"/>
                <a:gd name="T4" fmla="*/ 5 w 139"/>
                <a:gd name="T5" fmla="*/ 2 h 122"/>
                <a:gd name="T6" fmla="*/ 3 w 139"/>
                <a:gd name="T7" fmla="*/ 2 h 122"/>
                <a:gd name="T8" fmla="*/ 0 w 139"/>
                <a:gd name="T9" fmla="*/ 0 h 122"/>
                <a:gd name="T10" fmla="*/ 0 w 139"/>
                <a:gd name="T11" fmla="*/ 2 h 122"/>
                <a:gd name="T12" fmla="*/ 1 w 139"/>
                <a:gd name="T13" fmla="*/ 3 h 122"/>
                <a:gd name="T14" fmla="*/ 3 w 139"/>
                <a:gd name="T15" fmla="*/ 3 h 122"/>
                <a:gd name="T16" fmla="*/ 3 w 139"/>
                <a:gd name="T17" fmla="*/ 5 h 122"/>
                <a:gd name="T18" fmla="*/ 5 w 139"/>
                <a:gd name="T19" fmla="*/ 6 h 122"/>
                <a:gd name="T20" fmla="*/ 6 w 139"/>
                <a:gd name="T21" fmla="*/ 6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9"/>
                <a:gd name="T34" fmla="*/ 0 h 122"/>
                <a:gd name="T35" fmla="*/ 139 w 139"/>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9" h="122">
                  <a:moveTo>
                    <a:pt x="108" y="122"/>
                  </a:moveTo>
                  <a:lnTo>
                    <a:pt x="139" y="94"/>
                  </a:lnTo>
                  <a:lnTo>
                    <a:pt x="86" y="33"/>
                  </a:lnTo>
                  <a:lnTo>
                    <a:pt x="56" y="31"/>
                  </a:lnTo>
                  <a:lnTo>
                    <a:pt x="1" y="0"/>
                  </a:lnTo>
                  <a:lnTo>
                    <a:pt x="0" y="29"/>
                  </a:lnTo>
                  <a:lnTo>
                    <a:pt x="27" y="59"/>
                  </a:lnTo>
                  <a:lnTo>
                    <a:pt x="55" y="61"/>
                  </a:lnTo>
                  <a:lnTo>
                    <a:pt x="54" y="90"/>
                  </a:lnTo>
                  <a:lnTo>
                    <a:pt x="81" y="120"/>
                  </a:lnTo>
                  <a:lnTo>
                    <a:pt x="108" y="122"/>
                  </a:lnTo>
                </a:path>
              </a:pathLst>
            </a:custGeom>
            <a:solidFill>
              <a:srgbClr val="B2C2D1"/>
            </a:solidFill>
            <a:ln w="9525">
              <a:noFill/>
              <a:round/>
              <a:headEnd/>
              <a:tailEnd/>
            </a:ln>
          </p:spPr>
          <p:txBody>
            <a:bodyPr/>
            <a:lstStyle/>
            <a:p>
              <a:endParaRPr lang="el-GR"/>
            </a:p>
          </p:txBody>
        </p:sp>
        <p:sp>
          <p:nvSpPr>
            <p:cNvPr id="248" name="Freeform 125"/>
            <p:cNvSpPr>
              <a:spLocks/>
            </p:cNvSpPr>
            <p:nvPr/>
          </p:nvSpPr>
          <p:spPr bwMode="auto">
            <a:xfrm>
              <a:off x="3110" y="2631"/>
              <a:ext cx="28" cy="28"/>
            </a:xfrm>
            <a:custGeom>
              <a:avLst/>
              <a:gdLst>
                <a:gd name="T0" fmla="*/ 3 w 116"/>
                <a:gd name="T1" fmla="*/ 2 h 119"/>
                <a:gd name="T2" fmla="*/ 5 w 116"/>
                <a:gd name="T3" fmla="*/ 2 h 119"/>
                <a:gd name="T4" fmla="*/ 5 w 116"/>
                <a:gd name="T5" fmla="*/ 0 h 119"/>
                <a:gd name="T6" fmla="*/ 7 w 116"/>
                <a:gd name="T7" fmla="*/ 2 h 119"/>
                <a:gd name="T8" fmla="*/ 5 w 116"/>
                <a:gd name="T9" fmla="*/ 2 h 119"/>
                <a:gd name="T10" fmla="*/ 5 w 116"/>
                <a:gd name="T11" fmla="*/ 5 h 119"/>
                <a:gd name="T12" fmla="*/ 3 w 116"/>
                <a:gd name="T13" fmla="*/ 7 h 119"/>
                <a:gd name="T14" fmla="*/ 1 w 116"/>
                <a:gd name="T15" fmla="*/ 7 h 119"/>
                <a:gd name="T16" fmla="*/ 0 w 116"/>
                <a:gd name="T17" fmla="*/ 5 h 119"/>
                <a:gd name="T18" fmla="*/ 0 w 116"/>
                <a:gd name="T19" fmla="*/ 1 h 119"/>
                <a:gd name="T20" fmla="*/ 2 w 116"/>
                <a:gd name="T21" fmla="*/ 2 h 119"/>
                <a:gd name="T22" fmla="*/ 4 w 116"/>
                <a:gd name="T23" fmla="*/ 0 h 119"/>
                <a:gd name="T24" fmla="*/ 3 w 116"/>
                <a:gd name="T25" fmla="*/ 2 h 1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6"/>
                <a:gd name="T40" fmla="*/ 0 h 119"/>
                <a:gd name="T41" fmla="*/ 116 w 116"/>
                <a:gd name="T42" fmla="*/ 119 h 1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6" h="119">
                  <a:moveTo>
                    <a:pt x="59" y="29"/>
                  </a:moveTo>
                  <a:lnTo>
                    <a:pt x="88" y="31"/>
                  </a:lnTo>
                  <a:lnTo>
                    <a:pt x="89" y="1"/>
                  </a:lnTo>
                  <a:lnTo>
                    <a:pt x="116" y="32"/>
                  </a:lnTo>
                  <a:lnTo>
                    <a:pt x="88" y="31"/>
                  </a:lnTo>
                  <a:lnTo>
                    <a:pt x="84" y="91"/>
                  </a:lnTo>
                  <a:lnTo>
                    <a:pt x="54" y="119"/>
                  </a:lnTo>
                  <a:lnTo>
                    <a:pt x="26" y="118"/>
                  </a:lnTo>
                  <a:lnTo>
                    <a:pt x="0" y="86"/>
                  </a:lnTo>
                  <a:lnTo>
                    <a:pt x="2" y="26"/>
                  </a:lnTo>
                  <a:lnTo>
                    <a:pt x="30" y="28"/>
                  </a:lnTo>
                  <a:lnTo>
                    <a:pt x="61" y="0"/>
                  </a:lnTo>
                  <a:lnTo>
                    <a:pt x="59" y="29"/>
                  </a:lnTo>
                  <a:close/>
                </a:path>
              </a:pathLst>
            </a:custGeom>
            <a:solidFill>
              <a:srgbClr val="B2C2D1"/>
            </a:solidFill>
            <a:ln w="9525">
              <a:noFill/>
              <a:round/>
              <a:headEnd/>
              <a:tailEnd/>
            </a:ln>
          </p:spPr>
          <p:txBody>
            <a:bodyPr/>
            <a:lstStyle/>
            <a:p>
              <a:endParaRPr lang="el-GR"/>
            </a:p>
          </p:txBody>
        </p:sp>
        <p:sp>
          <p:nvSpPr>
            <p:cNvPr id="249" name="Freeform 126"/>
            <p:cNvSpPr>
              <a:spLocks/>
            </p:cNvSpPr>
            <p:nvPr/>
          </p:nvSpPr>
          <p:spPr bwMode="auto">
            <a:xfrm>
              <a:off x="3110" y="2631"/>
              <a:ext cx="28" cy="28"/>
            </a:xfrm>
            <a:custGeom>
              <a:avLst/>
              <a:gdLst>
                <a:gd name="T0" fmla="*/ 3 w 116"/>
                <a:gd name="T1" fmla="*/ 2 h 119"/>
                <a:gd name="T2" fmla="*/ 5 w 116"/>
                <a:gd name="T3" fmla="*/ 2 h 119"/>
                <a:gd name="T4" fmla="*/ 5 w 116"/>
                <a:gd name="T5" fmla="*/ 0 h 119"/>
                <a:gd name="T6" fmla="*/ 7 w 116"/>
                <a:gd name="T7" fmla="*/ 2 h 119"/>
                <a:gd name="T8" fmla="*/ 5 w 116"/>
                <a:gd name="T9" fmla="*/ 2 h 119"/>
                <a:gd name="T10" fmla="*/ 5 w 116"/>
                <a:gd name="T11" fmla="*/ 5 h 119"/>
                <a:gd name="T12" fmla="*/ 3 w 116"/>
                <a:gd name="T13" fmla="*/ 7 h 119"/>
                <a:gd name="T14" fmla="*/ 1 w 116"/>
                <a:gd name="T15" fmla="*/ 7 h 119"/>
                <a:gd name="T16" fmla="*/ 0 w 116"/>
                <a:gd name="T17" fmla="*/ 5 h 119"/>
                <a:gd name="T18" fmla="*/ 0 w 116"/>
                <a:gd name="T19" fmla="*/ 1 h 119"/>
                <a:gd name="T20" fmla="*/ 2 w 116"/>
                <a:gd name="T21" fmla="*/ 2 h 119"/>
                <a:gd name="T22" fmla="*/ 4 w 116"/>
                <a:gd name="T23" fmla="*/ 0 h 119"/>
                <a:gd name="T24" fmla="*/ 3 w 116"/>
                <a:gd name="T25" fmla="*/ 2 h 1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6"/>
                <a:gd name="T40" fmla="*/ 0 h 119"/>
                <a:gd name="T41" fmla="*/ 116 w 116"/>
                <a:gd name="T42" fmla="*/ 119 h 1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6" h="119">
                  <a:moveTo>
                    <a:pt x="59" y="29"/>
                  </a:moveTo>
                  <a:lnTo>
                    <a:pt x="88" y="31"/>
                  </a:lnTo>
                  <a:lnTo>
                    <a:pt x="89" y="1"/>
                  </a:lnTo>
                  <a:lnTo>
                    <a:pt x="116" y="32"/>
                  </a:lnTo>
                  <a:lnTo>
                    <a:pt x="88" y="31"/>
                  </a:lnTo>
                  <a:lnTo>
                    <a:pt x="84" y="91"/>
                  </a:lnTo>
                  <a:lnTo>
                    <a:pt x="54" y="119"/>
                  </a:lnTo>
                  <a:lnTo>
                    <a:pt x="26" y="118"/>
                  </a:lnTo>
                  <a:lnTo>
                    <a:pt x="0" y="86"/>
                  </a:lnTo>
                  <a:lnTo>
                    <a:pt x="2" y="26"/>
                  </a:lnTo>
                  <a:lnTo>
                    <a:pt x="30" y="28"/>
                  </a:lnTo>
                  <a:lnTo>
                    <a:pt x="61" y="0"/>
                  </a:lnTo>
                  <a:lnTo>
                    <a:pt x="59" y="29"/>
                  </a:lnTo>
                </a:path>
              </a:pathLst>
            </a:custGeom>
            <a:solidFill>
              <a:srgbClr val="B2C2D1"/>
            </a:solidFill>
            <a:ln w="9525">
              <a:noFill/>
              <a:round/>
              <a:headEnd/>
              <a:tailEnd/>
            </a:ln>
          </p:spPr>
          <p:txBody>
            <a:bodyPr/>
            <a:lstStyle/>
            <a:p>
              <a:endParaRPr lang="el-GR"/>
            </a:p>
          </p:txBody>
        </p:sp>
        <p:sp>
          <p:nvSpPr>
            <p:cNvPr id="250" name="Freeform 127"/>
            <p:cNvSpPr>
              <a:spLocks/>
            </p:cNvSpPr>
            <p:nvPr/>
          </p:nvSpPr>
          <p:spPr bwMode="auto">
            <a:xfrm>
              <a:off x="3932" y="2907"/>
              <a:ext cx="28" cy="20"/>
            </a:xfrm>
            <a:custGeom>
              <a:avLst/>
              <a:gdLst>
                <a:gd name="T0" fmla="*/ 0 w 117"/>
                <a:gd name="T1" fmla="*/ 5 h 83"/>
                <a:gd name="T2" fmla="*/ 3 w 117"/>
                <a:gd name="T3" fmla="*/ 3 h 83"/>
                <a:gd name="T4" fmla="*/ 5 w 117"/>
                <a:gd name="T5" fmla="*/ 3 h 83"/>
                <a:gd name="T6" fmla="*/ 7 w 117"/>
                <a:gd name="T7" fmla="*/ 3 h 83"/>
                <a:gd name="T8" fmla="*/ 7 w 117"/>
                <a:gd name="T9" fmla="*/ 0 h 83"/>
                <a:gd name="T10" fmla="*/ 2 w 117"/>
                <a:gd name="T11" fmla="*/ 1 h 83"/>
                <a:gd name="T12" fmla="*/ 0 w 117"/>
                <a:gd name="T13" fmla="*/ 3 h 83"/>
                <a:gd name="T14" fmla="*/ 0 w 117"/>
                <a:gd name="T15" fmla="*/ 5 h 83"/>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83"/>
                <a:gd name="T26" fmla="*/ 117 w 117"/>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83">
                  <a:moveTo>
                    <a:pt x="0" y="83"/>
                  </a:moveTo>
                  <a:lnTo>
                    <a:pt x="59" y="57"/>
                  </a:lnTo>
                  <a:lnTo>
                    <a:pt x="87" y="58"/>
                  </a:lnTo>
                  <a:lnTo>
                    <a:pt x="115" y="60"/>
                  </a:lnTo>
                  <a:lnTo>
                    <a:pt x="117" y="0"/>
                  </a:lnTo>
                  <a:lnTo>
                    <a:pt x="33" y="25"/>
                  </a:lnTo>
                  <a:lnTo>
                    <a:pt x="2" y="53"/>
                  </a:lnTo>
                  <a:lnTo>
                    <a:pt x="0" y="83"/>
                  </a:lnTo>
                  <a:close/>
                </a:path>
              </a:pathLst>
            </a:custGeom>
            <a:solidFill>
              <a:srgbClr val="B2C2D1"/>
            </a:solidFill>
            <a:ln w="9525">
              <a:noFill/>
              <a:round/>
              <a:headEnd/>
              <a:tailEnd/>
            </a:ln>
          </p:spPr>
          <p:txBody>
            <a:bodyPr/>
            <a:lstStyle/>
            <a:p>
              <a:endParaRPr lang="el-GR"/>
            </a:p>
          </p:txBody>
        </p:sp>
        <p:sp>
          <p:nvSpPr>
            <p:cNvPr id="251" name="Freeform 128"/>
            <p:cNvSpPr>
              <a:spLocks/>
            </p:cNvSpPr>
            <p:nvPr/>
          </p:nvSpPr>
          <p:spPr bwMode="auto">
            <a:xfrm>
              <a:off x="3932" y="2907"/>
              <a:ext cx="28" cy="20"/>
            </a:xfrm>
            <a:custGeom>
              <a:avLst/>
              <a:gdLst>
                <a:gd name="T0" fmla="*/ 0 w 117"/>
                <a:gd name="T1" fmla="*/ 5 h 83"/>
                <a:gd name="T2" fmla="*/ 3 w 117"/>
                <a:gd name="T3" fmla="*/ 3 h 83"/>
                <a:gd name="T4" fmla="*/ 5 w 117"/>
                <a:gd name="T5" fmla="*/ 3 h 83"/>
                <a:gd name="T6" fmla="*/ 7 w 117"/>
                <a:gd name="T7" fmla="*/ 3 h 83"/>
                <a:gd name="T8" fmla="*/ 7 w 117"/>
                <a:gd name="T9" fmla="*/ 0 h 83"/>
                <a:gd name="T10" fmla="*/ 2 w 117"/>
                <a:gd name="T11" fmla="*/ 1 h 83"/>
                <a:gd name="T12" fmla="*/ 0 w 117"/>
                <a:gd name="T13" fmla="*/ 3 h 83"/>
                <a:gd name="T14" fmla="*/ 0 w 117"/>
                <a:gd name="T15" fmla="*/ 5 h 83"/>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83"/>
                <a:gd name="T26" fmla="*/ 117 w 117"/>
                <a:gd name="T27" fmla="*/ 83 h 8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83">
                  <a:moveTo>
                    <a:pt x="0" y="83"/>
                  </a:moveTo>
                  <a:lnTo>
                    <a:pt x="59" y="57"/>
                  </a:lnTo>
                  <a:lnTo>
                    <a:pt x="87" y="58"/>
                  </a:lnTo>
                  <a:lnTo>
                    <a:pt x="115" y="60"/>
                  </a:lnTo>
                  <a:lnTo>
                    <a:pt x="117" y="0"/>
                  </a:lnTo>
                  <a:lnTo>
                    <a:pt x="33" y="25"/>
                  </a:lnTo>
                  <a:lnTo>
                    <a:pt x="2" y="53"/>
                  </a:lnTo>
                  <a:lnTo>
                    <a:pt x="0" y="83"/>
                  </a:lnTo>
                </a:path>
              </a:pathLst>
            </a:custGeom>
            <a:solidFill>
              <a:srgbClr val="B2C2D1"/>
            </a:solidFill>
            <a:ln w="9525">
              <a:noFill/>
              <a:round/>
              <a:headEnd/>
              <a:tailEnd/>
            </a:ln>
          </p:spPr>
          <p:txBody>
            <a:bodyPr/>
            <a:lstStyle/>
            <a:p>
              <a:endParaRPr lang="el-GR"/>
            </a:p>
          </p:txBody>
        </p:sp>
        <p:sp>
          <p:nvSpPr>
            <p:cNvPr id="252" name="Freeform 129"/>
            <p:cNvSpPr>
              <a:spLocks/>
            </p:cNvSpPr>
            <p:nvPr/>
          </p:nvSpPr>
          <p:spPr bwMode="auto">
            <a:xfrm>
              <a:off x="3826" y="3027"/>
              <a:ext cx="13" cy="27"/>
            </a:xfrm>
            <a:custGeom>
              <a:avLst/>
              <a:gdLst>
                <a:gd name="T0" fmla="*/ 3 w 56"/>
                <a:gd name="T1" fmla="*/ 6 h 116"/>
                <a:gd name="T2" fmla="*/ 3 w 56"/>
                <a:gd name="T3" fmla="*/ 5 h 116"/>
                <a:gd name="T4" fmla="*/ 3 w 56"/>
                <a:gd name="T5" fmla="*/ 2 h 116"/>
                <a:gd name="T6" fmla="*/ 3 w 56"/>
                <a:gd name="T7" fmla="*/ 0 h 116"/>
                <a:gd name="T8" fmla="*/ 2 w 56"/>
                <a:gd name="T9" fmla="*/ 0 h 116"/>
                <a:gd name="T10" fmla="*/ 1 w 56"/>
                <a:gd name="T11" fmla="*/ 2 h 116"/>
                <a:gd name="T12" fmla="*/ 1 w 56"/>
                <a:gd name="T13" fmla="*/ 3 h 116"/>
                <a:gd name="T14" fmla="*/ 0 w 56"/>
                <a:gd name="T15" fmla="*/ 3 h 116"/>
                <a:gd name="T16" fmla="*/ 1 w 56"/>
                <a:gd name="T17" fmla="*/ 6 h 116"/>
                <a:gd name="T18" fmla="*/ 3 w 56"/>
                <a:gd name="T19" fmla="*/ 6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116"/>
                <a:gd name="T32" fmla="*/ 56 w 56"/>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116">
                  <a:moveTo>
                    <a:pt x="51" y="116"/>
                  </a:moveTo>
                  <a:lnTo>
                    <a:pt x="52" y="88"/>
                  </a:lnTo>
                  <a:lnTo>
                    <a:pt x="55" y="30"/>
                  </a:lnTo>
                  <a:lnTo>
                    <a:pt x="56" y="1"/>
                  </a:lnTo>
                  <a:lnTo>
                    <a:pt x="29" y="0"/>
                  </a:lnTo>
                  <a:lnTo>
                    <a:pt x="27" y="28"/>
                  </a:lnTo>
                  <a:lnTo>
                    <a:pt x="27" y="58"/>
                  </a:lnTo>
                  <a:lnTo>
                    <a:pt x="0" y="56"/>
                  </a:lnTo>
                  <a:lnTo>
                    <a:pt x="24" y="115"/>
                  </a:lnTo>
                  <a:lnTo>
                    <a:pt x="51" y="116"/>
                  </a:lnTo>
                  <a:close/>
                </a:path>
              </a:pathLst>
            </a:custGeom>
            <a:solidFill>
              <a:srgbClr val="B2C2D1"/>
            </a:solidFill>
            <a:ln w="9525">
              <a:noFill/>
              <a:round/>
              <a:headEnd/>
              <a:tailEnd/>
            </a:ln>
          </p:spPr>
          <p:txBody>
            <a:bodyPr/>
            <a:lstStyle/>
            <a:p>
              <a:endParaRPr lang="el-GR"/>
            </a:p>
          </p:txBody>
        </p:sp>
        <p:sp>
          <p:nvSpPr>
            <p:cNvPr id="253" name="Freeform 130"/>
            <p:cNvSpPr>
              <a:spLocks/>
            </p:cNvSpPr>
            <p:nvPr/>
          </p:nvSpPr>
          <p:spPr bwMode="auto">
            <a:xfrm>
              <a:off x="3826" y="3027"/>
              <a:ext cx="13" cy="27"/>
            </a:xfrm>
            <a:custGeom>
              <a:avLst/>
              <a:gdLst>
                <a:gd name="T0" fmla="*/ 3 w 56"/>
                <a:gd name="T1" fmla="*/ 6 h 116"/>
                <a:gd name="T2" fmla="*/ 3 w 56"/>
                <a:gd name="T3" fmla="*/ 5 h 116"/>
                <a:gd name="T4" fmla="*/ 3 w 56"/>
                <a:gd name="T5" fmla="*/ 2 h 116"/>
                <a:gd name="T6" fmla="*/ 3 w 56"/>
                <a:gd name="T7" fmla="*/ 0 h 116"/>
                <a:gd name="T8" fmla="*/ 2 w 56"/>
                <a:gd name="T9" fmla="*/ 0 h 116"/>
                <a:gd name="T10" fmla="*/ 1 w 56"/>
                <a:gd name="T11" fmla="*/ 2 h 116"/>
                <a:gd name="T12" fmla="*/ 1 w 56"/>
                <a:gd name="T13" fmla="*/ 3 h 116"/>
                <a:gd name="T14" fmla="*/ 0 w 56"/>
                <a:gd name="T15" fmla="*/ 3 h 116"/>
                <a:gd name="T16" fmla="*/ 1 w 56"/>
                <a:gd name="T17" fmla="*/ 6 h 116"/>
                <a:gd name="T18" fmla="*/ 3 w 56"/>
                <a:gd name="T19" fmla="*/ 6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116"/>
                <a:gd name="T32" fmla="*/ 56 w 56"/>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116">
                  <a:moveTo>
                    <a:pt x="51" y="116"/>
                  </a:moveTo>
                  <a:lnTo>
                    <a:pt x="52" y="88"/>
                  </a:lnTo>
                  <a:lnTo>
                    <a:pt x="55" y="30"/>
                  </a:lnTo>
                  <a:lnTo>
                    <a:pt x="56" y="1"/>
                  </a:lnTo>
                  <a:lnTo>
                    <a:pt x="29" y="0"/>
                  </a:lnTo>
                  <a:lnTo>
                    <a:pt x="27" y="28"/>
                  </a:lnTo>
                  <a:lnTo>
                    <a:pt x="27" y="58"/>
                  </a:lnTo>
                  <a:lnTo>
                    <a:pt x="0" y="56"/>
                  </a:lnTo>
                  <a:lnTo>
                    <a:pt x="24" y="115"/>
                  </a:lnTo>
                  <a:lnTo>
                    <a:pt x="51" y="116"/>
                  </a:lnTo>
                </a:path>
              </a:pathLst>
            </a:custGeom>
            <a:solidFill>
              <a:srgbClr val="B2C2D1"/>
            </a:solidFill>
            <a:ln w="9525">
              <a:noFill/>
              <a:round/>
              <a:headEnd/>
              <a:tailEnd/>
            </a:ln>
          </p:spPr>
          <p:txBody>
            <a:bodyPr/>
            <a:lstStyle/>
            <a:p>
              <a:endParaRPr lang="el-GR"/>
            </a:p>
          </p:txBody>
        </p:sp>
        <p:sp>
          <p:nvSpPr>
            <p:cNvPr id="254" name="Freeform 131"/>
            <p:cNvSpPr>
              <a:spLocks/>
            </p:cNvSpPr>
            <p:nvPr/>
          </p:nvSpPr>
          <p:spPr bwMode="auto">
            <a:xfrm>
              <a:off x="3477" y="2539"/>
              <a:ext cx="13" cy="20"/>
            </a:xfrm>
            <a:custGeom>
              <a:avLst/>
              <a:gdLst>
                <a:gd name="T0" fmla="*/ 3 w 56"/>
                <a:gd name="T1" fmla="*/ 2 h 88"/>
                <a:gd name="T2" fmla="*/ 3 w 56"/>
                <a:gd name="T3" fmla="*/ 3 h 88"/>
                <a:gd name="T4" fmla="*/ 3 w 56"/>
                <a:gd name="T5" fmla="*/ 5 h 88"/>
                <a:gd name="T6" fmla="*/ 1 w 56"/>
                <a:gd name="T7" fmla="*/ 5 h 88"/>
                <a:gd name="T8" fmla="*/ 0 w 56"/>
                <a:gd name="T9" fmla="*/ 3 h 88"/>
                <a:gd name="T10" fmla="*/ 0 w 56"/>
                <a:gd name="T11" fmla="*/ 1 h 88"/>
                <a:gd name="T12" fmla="*/ 1 w 56"/>
                <a:gd name="T13" fmla="*/ 3 h 88"/>
                <a:gd name="T14" fmla="*/ 2 w 56"/>
                <a:gd name="T15" fmla="*/ 2 h 88"/>
                <a:gd name="T16" fmla="*/ 2 w 56"/>
                <a:gd name="T17" fmla="*/ 0 h 88"/>
                <a:gd name="T18" fmla="*/ 3 w 56"/>
                <a:gd name="T19" fmla="*/ 2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88"/>
                <a:gd name="T32" fmla="*/ 56 w 56"/>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88">
                  <a:moveTo>
                    <a:pt x="56" y="31"/>
                  </a:moveTo>
                  <a:lnTo>
                    <a:pt x="54" y="60"/>
                  </a:lnTo>
                  <a:lnTo>
                    <a:pt x="53" y="88"/>
                  </a:lnTo>
                  <a:lnTo>
                    <a:pt x="26" y="87"/>
                  </a:lnTo>
                  <a:lnTo>
                    <a:pt x="0" y="57"/>
                  </a:lnTo>
                  <a:lnTo>
                    <a:pt x="2" y="27"/>
                  </a:lnTo>
                  <a:lnTo>
                    <a:pt x="27" y="58"/>
                  </a:lnTo>
                  <a:lnTo>
                    <a:pt x="29" y="29"/>
                  </a:lnTo>
                  <a:lnTo>
                    <a:pt x="30" y="0"/>
                  </a:lnTo>
                  <a:lnTo>
                    <a:pt x="56" y="31"/>
                  </a:lnTo>
                  <a:close/>
                </a:path>
              </a:pathLst>
            </a:custGeom>
            <a:solidFill>
              <a:srgbClr val="B2C2D1"/>
            </a:solidFill>
            <a:ln w="9525">
              <a:noFill/>
              <a:round/>
              <a:headEnd/>
              <a:tailEnd/>
            </a:ln>
          </p:spPr>
          <p:txBody>
            <a:bodyPr/>
            <a:lstStyle/>
            <a:p>
              <a:endParaRPr lang="el-GR"/>
            </a:p>
          </p:txBody>
        </p:sp>
        <p:sp>
          <p:nvSpPr>
            <p:cNvPr id="255" name="Freeform 132"/>
            <p:cNvSpPr>
              <a:spLocks/>
            </p:cNvSpPr>
            <p:nvPr/>
          </p:nvSpPr>
          <p:spPr bwMode="auto">
            <a:xfrm>
              <a:off x="3477" y="2539"/>
              <a:ext cx="13" cy="20"/>
            </a:xfrm>
            <a:custGeom>
              <a:avLst/>
              <a:gdLst>
                <a:gd name="T0" fmla="*/ 3 w 56"/>
                <a:gd name="T1" fmla="*/ 2 h 88"/>
                <a:gd name="T2" fmla="*/ 3 w 56"/>
                <a:gd name="T3" fmla="*/ 3 h 88"/>
                <a:gd name="T4" fmla="*/ 3 w 56"/>
                <a:gd name="T5" fmla="*/ 5 h 88"/>
                <a:gd name="T6" fmla="*/ 1 w 56"/>
                <a:gd name="T7" fmla="*/ 5 h 88"/>
                <a:gd name="T8" fmla="*/ 0 w 56"/>
                <a:gd name="T9" fmla="*/ 3 h 88"/>
                <a:gd name="T10" fmla="*/ 0 w 56"/>
                <a:gd name="T11" fmla="*/ 1 h 88"/>
                <a:gd name="T12" fmla="*/ 1 w 56"/>
                <a:gd name="T13" fmla="*/ 3 h 88"/>
                <a:gd name="T14" fmla="*/ 2 w 56"/>
                <a:gd name="T15" fmla="*/ 2 h 88"/>
                <a:gd name="T16" fmla="*/ 2 w 56"/>
                <a:gd name="T17" fmla="*/ 0 h 88"/>
                <a:gd name="T18" fmla="*/ 3 w 56"/>
                <a:gd name="T19" fmla="*/ 2 h 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6"/>
                <a:gd name="T31" fmla="*/ 0 h 88"/>
                <a:gd name="T32" fmla="*/ 56 w 56"/>
                <a:gd name="T33" fmla="*/ 88 h 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6" h="88">
                  <a:moveTo>
                    <a:pt x="56" y="31"/>
                  </a:moveTo>
                  <a:lnTo>
                    <a:pt x="54" y="60"/>
                  </a:lnTo>
                  <a:lnTo>
                    <a:pt x="53" y="88"/>
                  </a:lnTo>
                  <a:lnTo>
                    <a:pt x="26" y="87"/>
                  </a:lnTo>
                  <a:lnTo>
                    <a:pt x="0" y="57"/>
                  </a:lnTo>
                  <a:lnTo>
                    <a:pt x="2" y="27"/>
                  </a:lnTo>
                  <a:lnTo>
                    <a:pt x="27" y="58"/>
                  </a:lnTo>
                  <a:lnTo>
                    <a:pt x="29" y="29"/>
                  </a:lnTo>
                  <a:lnTo>
                    <a:pt x="30" y="0"/>
                  </a:lnTo>
                  <a:lnTo>
                    <a:pt x="56" y="31"/>
                  </a:lnTo>
                </a:path>
              </a:pathLst>
            </a:custGeom>
            <a:solidFill>
              <a:srgbClr val="B2C2D1"/>
            </a:solidFill>
            <a:ln w="9525">
              <a:noFill/>
              <a:round/>
              <a:headEnd/>
              <a:tailEnd/>
            </a:ln>
          </p:spPr>
          <p:txBody>
            <a:bodyPr/>
            <a:lstStyle/>
            <a:p>
              <a:endParaRPr lang="el-GR"/>
            </a:p>
          </p:txBody>
        </p:sp>
        <p:sp>
          <p:nvSpPr>
            <p:cNvPr id="256" name="Freeform 133"/>
            <p:cNvSpPr>
              <a:spLocks/>
            </p:cNvSpPr>
            <p:nvPr/>
          </p:nvSpPr>
          <p:spPr bwMode="auto">
            <a:xfrm>
              <a:off x="3364" y="2637"/>
              <a:ext cx="21" cy="22"/>
            </a:xfrm>
            <a:custGeom>
              <a:avLst/>
              <a:gdLst>
                <a:gd name="T0" fmla="*/ 3 w 86"/>
                <a:gd name="T1" fmla="*/ 5 h 92"/>
                <a:gd name="T2" fmla="*/ 3 w 86"/>
                <a:gd name="T3" fmla="*/ 5 h 92"/>
                <a:gd name="T4" fmla="*/ 5 w 86"/>
                <a:gd name="T5" fmla="*/ 4 h 92"/>
                <a:gd name="T6" fmla="*/ 5 w 86"/>
                <a:gd name="T7" fmla="*/ 2 h 92"/>
                <a:gd name="T8" fmla="*/ 5 w 86"/>
                <a:gd name="T9" fmla="*/ 0 h 92"/>
                <a:gd name="T10" fmla="*/ 3 w 86"/>
                <a:gd name="T11" fmla="*/ 0 h 92"/>
                <a:gd name="T12" fmla="*/ 2 w 86"/>
                <a:gd name="T13" fmla="*/ 2 h 92"/>
                <a:gd name="T14" fmla="*/ 2 w 86"/>
                <a:gd name="T15" fmla="*/ 3 h 92"/>
                <a:gd name="T16" fmla="*/ 0 w 86"/>
                <a:gd name="T17" fmla="*/ 3 h 92"/>
                <a:gd name="T18" fmla="*/ 2 w 86"/>
                <a:gd name="T19" fmla="*/ 5 h 92"/>
                <a:gd name="T20" fmla="*/ 3 w 86"/>
                <a:gd name="T21" fmla="*/ 5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92"/>
                <a:gd name="T35" fmla="*/ 86 w 86"/>
                <a:gd name="T36" fmla="*/ 92 h 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92">
                  <a:moveTo>
                    <a:pt x="54" y="92"/>
                  </a:moveTo>
                  <a:lnTo>
                    <a:pt x="54" y="92"/>
                  </a:lnTo>
                  <a:lnTo>
                    <a:pt x="84" y="62"/>
                  </a:lnTo>
                  <a:lnTo>
                    <a:pt x="84" y="32"/>
                  </a:lnTo>
                  <a:lnTo>
                    <a:pt x="86" y="2"/>
                  </a:lnTo>
                  <a:lnTo>
                    <a:pt x="58" y="0"/>
                  </a:lnTo>
                  <a:lnTo>
                    <a:pt x="29" y="29"/>
                  </a:lnTo>
                  <a:lnTo>
                    <a:pt x="28" y="59"/>
                  </a:lnTo>
                  <a:lnTo>
                    <a:pt x="0" y="58"/>
                  </a:lnTo>
                  <a:lnTo>
                    <a:pt x="27" y="91"/>
                  </a:lnTo>
                  <a:lnTo>
                    <a:pt x="54" y="92"/>
                  </a:lnTo>
                  <a:close/>
                </a:path>
              </a:pathLst>
            </a:custGeom>
            <a:solidFill>
              <a:srgbClr val="B2C2D1"/>
            </a:solidFill>
            <a:ln w="9525">
              <a:noFill/>
              <a:round/>
              <a:headEnd/>
              <a:tailEnd/>
            </a:ln>
          </p:spPr>
          <p:txBody>
            <a:bodyPr/>
            <a:lstStyle/>
            <a:p>
              <a:endParaRPr lang="el-GR"/>
            </a:p>
          </p:txBody>
        </p:sp>
        <p:sp>
          <p:nvSpPr>
            <p:cNvPr id="257" name="Freeform 134"/>
            <p:cNvSpPr>
              <a:spLocks/>
            </p:cNvSpPr>
            <p:nvPr/>
          </p:nvSpPr>
          <p:spPr bwMode="auto">
            <a:xfrm>
              <a:off x="3364" y="2637"/>
              <a:ext cx="21" cy="22"/>
            </a:xfrm>
            <a:custGeom>
              <a:avLst/>
              <a:gdLst>
                <a:gd name="T0" fmla="*/ 3 w 86"/>
                <a:gd name="T1" fmla="*/ 5 h 92"/>
                <a:gd name="T2" fmla="*/ 3 w 86"/>
                <a:gd name="T3" fmla="*/ 5 h 92"/>
                <a:gd name="T4" fmla="*/ 5 w 86"/>
                <a:gd name="T5" fmla="*/ 4 h 92"/>
                <a:gd name="T6" fmla="*/ 5 w 86"/>
                <a:gd name="T7" fmla="*/ 2 h 92"/>
                <a:gd name="T8" fmla="*/ 5 w 86"/>
                <a:gd name="T9" fmla="*/ 0 h 92"/>
                <a:gd name="T10" fmla="*/ 3 w 86"/>
                <a:gd name="T11" fmla="*/ 0 h 92"/>
                <a:gd name="T12" fmla="*/ 2 w 86"/>
                <a:gd name="T13" fmla="*/ 2 h 92"/>
                <a:gd name="T14" fmla="*/ 2 w 86"/>
                <a:gd name="T15" fmla="*/ 3 h 92"/>
                <a:gd name="T16" fmla="*/ 0 w 86"/>
                <a:gd name="T17" fmla="*/ 3 h 92"/>
                <a:gd name="T18" fmla="*/ 2 w 86"/>
                <a:gd name="T19" fmla="*/ 5 h 92"/>
                <a:gd name="T20" fmla="*/ 3 w 86"/>
                <a:gd name="T21" fmla="*/ 5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92"/>
                <a:gd name="T35" fmla="*/ 86 w 86"/>
                <a:gd name="T36" fmla="*/ 92 h 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92">
                  <a:moveTo>
                    <a:pt x="54" y="92"/>
                  </a:moveTo>
                  <a:lnTo>
                    <a:pt x="54" y="92"/>
                  </a:lnTo>
                  <a:lnTo>
                    <a:pt x="84" y="62"/>
                  </a:lnTo>
                  <a:lnTo>
                    <a:pt x="84" y="32"/>
                  </a:lnTo>
                  <a:lnTo>
                    <a:pt x="86" y="2"/>
                  </a:lnTo>
                  <a:lnTo>
                    <a:pt x="58" y="0"/>
                  </a:lnTo>
                  <a:lnTo>
                    <a:pt x="29" y="29"/>
                  </a:lnTo>
                  <a:lnTo>
                    <a:pt x="28" y="59"/>
                  </a:lnTo>
                  <a:lnTo>
                    <a:pt x="0" y="58"/>
                  </a:lnTo>
                  <a:lnTo>
                    <a:pt x="27" y="91"/>
                  </a:lnTo>
                  <a:lnTo>
                    <a:pt x="54" y="92"/>
                  </a:lnTo>
                </a:path>
              </a:pathLst>
            </a:custGeom>
            <a:solidFill>
              <a:srgbClr val="B2C2D1"/>
            </a:solidFill>
            <a:ln w="9525">
              <a:noFill/>
              <a:round/>
              <a:headEnd/>
              <a:tailEnd/>
            </a:ln>
          </p:spPr>
          <p:txBody>
            <a:bodyPr/>
            <a:lstStyle/>
            <a:p>
              <a:endParaRPr lang="el-GR"/>
            </a:p>
          </p:txBody>
        </p:sp>
        <p:sp>
          <p:nvSpPr>
            <p:cNvPr id="258" name="Freeform 135"/>
            <p:cNvSpPr>
              <a:spLocks/>
            </p:cNvSpPr>
            <p:nvPr/>
          </p:nvSpPr>
          <p:spPr bwMode="auto">
            <a:xfrm>
              <a:off x="3158" y="2341"/>
              <a:ext cx="28" cy="22"/>
            </a:xfrm>
            <a:custGeom>
              <a:avLst/>
              <a:gdLst>
                <a:gd name="T0" fmla="*/ 3 w 115"/>
                <a:gd name="T1" fmla="*/ 3 h 89"/>
                <a:gd name="T2" fmla="*/ 3 w 115"/>
                <a:gd name="T3" fmla="*/ 2 h 89"/>
                <a:gd name="T4" fmla="*/ 5 w 115"/>
                <a:gd name="T5" fmla="*/ 2 h 89"/>
                <a:gd name="T6" fmla="*/ 5 w 115"/>
                <a:gd name="T7" fmla="*/ 0 h 89"/>
                <a:gd name="T8" fmla="*/ 7 w 115"/>
                <a:gd name="T9" fmla="*/ 0 h 89"/>
                <a:gd name="T10" fmla="*/ 7 w 115"/>
                <a:gd name="T11" fmla="*/ 2 h 89"/>
                <a:gd name="T12" fmla="*/ 7 w 115"/>
                <a:gd name="T13" fmla="*/ 4 h 89"/>
                <a:gd name="T14" fmla="*/ 7 w 115"/>
                <a:gd name="T15" fmla="*/ 5 h 89"/>
                <a:gd name="T16" fmla="*/ 5 w 115"/>
                <a:gd name="T17" fmla="*/ 4 h 89"/>
                <a:gd name="T18" fmla="*/ 3 w 115"/>
                <a:gd name="T19" fmla="*/ 3 h 89"/>
                <a:gd name="T20" fmla="*/ 0 w 115"/>
                <a:gd name="T21" fmla="*/ 3 h 89"/>
                <a:gd name="T22" fmla="*/ 2 w 115"/>
                <a:gd name="T23" fmla="*/ 3 h 89"/>
                <a:gd name="T24" fmla="*/ 3 w 115"/>
                <a:gd name="T25" fmla="*/ 3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89"/>
                <a:gd name="T41" fmla="*/ 115 w 11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89">
                  <a:moveTo>
                    <a:pt x="57" y="57"/>
                  </a:moveTo>
                  <a:lnTo>
                    <a:pt x="58" y="28"/>
                  </a:lnTo>
                  <a:lnTo>
                    <a:pt x="86" y="30"/>
                  </a:lnTo>
                  <a:lnTo>
                    <a:pt x="88" y="0"/>
                  </a:lnTo>
                  <a:lnTo>
                    <a:pt x="115" y="1"/>
                  </a:lnTo>
                  <a:lnTo>
                    <a:pt x="114" y="31"/>
                  </a:lnTo>
                  <a:lnTo>
                    <a:pt x="113" y="60"/>
                  </a:lnTo>
                  <a:lnTo>
                    <a:pt x="111" y="89"/>
                  </a:lnTo>
                  <a:lnTo>
                    <a:pt x="85" y="59"/>
                  </a:lnTo>
                  <a:lnTo>
                    <a:pt x="57" y="57"/>
                  </a:lnTo>
                  <a:lnTo>
                    <a:pt x="0" y="54"/>
                  </a:lnTo>
                  <a:lnTo>
                    <a:pt x="29" y="56"/>
                  </a:lnTo>
                  <a:lnTo>
                    <a:pt x="57" y="57"/>
                  </a:lnTo>
                  <a:close/>
                </a:path>
              </a:pathLst>
            </a:custGeom>
            <a:solidFill>
              <a:srgbClr val="B2C2D1"/>
            </a:solidFill>
            <a:ln w="9525">
              <a:noFill/>
              <a:round/>
              <a:headEnd/>
              <a:tailEnd/>
            </a:ln>
          </p:spPr>
          <p:txBody>
            <a:bodyPr/>
            <a:lstStyle/>
            <a:p>
              <a:endParaRPr lang="el-GR"/>
            </a:p>
          </p:txBody>
        </p:sp>
        <p:sp>
          <p:nvSpPr>
            <p:cNvPr id="259" name="Freeform 136"/>
            <p:cNvSpPr>
              <a:spLocks/>
            </p:cNvSpPr>
            <p:nvPr/>
          </p:nvSpPr>
          <p:spPr bwMode="auto">
            <a:xfrm>
              <a:off x="3158" y="2341"/>
              <a:ext cx="28" cy="22"/>
            </a:xfrm>
            <a:custGeom>
              <a:avLst/>
              <a:gdLst>
                <a:gd name="T0" fmla="*/ 3 w 115"/>
                <a:gd name="T1" fmla="*/ 3 h 89"/>
                <a:gd name="T2" fmla="*/ 3 w 115"/>
                <a:gd name="T3" fmla="*/ 2 h 89"/>
                <a:gd name="T4" fmla="*/ 5 w 115"/>
                <a:gd name="T5" fmla="*/ 2 h 89"/>
                <a:gd name="T6" fmla="*/ 5 w 115"/>
                <a:gd name="T7" fmla="*/ 0 h 89"/>
                <a:gd name="T8" fmla="*/ 7 w 115"/>
                <a:gd name="T9" fmla="*/ 0 h 89"/>
                <a:gd name="T10" fmla="*/ 7 w 115"/>
                <a:gd name="T11" fmla="*/ 2 h 89"/>
                <a:gd name="T12" fmla="*/ 7 w 115"/>
                <a:gd name="T13" fmla="*/ 4 h 89"/>
                <a:gd name="T14" fmla="*/ 7 w 115"/>
                <a:gd name="T15" fmla="*/ 5 h 89"/>
                <a:gd name="T16" fmla="*/ 5 w 115"/>
                <a:gd name="T17" fmla="*/ 4 h 89"/>
                <a:gd name="T18" fmla="*/ 3 w 115"/>
                <a:gd name="T19" fmla="*/ 3 h 89"/>
                <a:gd name="T20" fmla="*/ 0 w 115"/>
                <a:gd name="T21" fmla="*/ 3 h 89"/>
                <a:gd name="T22" fmla="*/ 2 w 115"/>
                <a:gd name="T23" fmla="*/ 3 h 89"/>
                <a:gd name="T24" fmla="*/ 3 w 115"/>
                <a:gd name="T25" fmla="*/ 3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5"/>
                <a:gd name="T40" fmla="*/ 0 h 89"/>
                <a:gd name="T41" fmla="*/ 115 w 11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5" h="89">
                  <a:moveTo>
                    <a:pt x="57" y="57"/>
                  </a:moveTo>
                  <a:lnTo>
                    <a:pt x="58" y="28"/>
                  </a:lnTo>
                  <a:lnTo>
                    <a:pt x="86" y="30"/>
                  </a:lnTo>
                  <a:lnTo>
                    <a:pt x="88" y="0"/>
                  </a:lnTo>
                  <a:lnTo>
                    <a:pt x="115" y="1"/>
                  </a:lnTo>
                  <a:lnTo>
                    <a:pt x="114" y="31"/>
                  </a:lnTo>
                  <a:lnTo>
                    <a:pt x="113" y="60"/>
                  </a:lnTo>
                  <a:lnTo>
                    <a:pt x="111" y="89"/>
                  </a:lnTo>
                  <a:lnTo>
                    <a:pt x="85" y="59"/>
                  </a:lnTo>
                  <a:lnTo>
                    <a:pt x="57" y="57"/>
                  </a:lnTo>
                  <a:lnTo>
                    <a:pt x="0" y="54"/>
                  </a:lnTo>
                  <a:lnTo>
                    <a:pt x="29" y="56"/>
                  </a:lnTo>
                  <a:lnTo>
                    <a:pt x="57" y="57"/>
                  </a:lnTo>
                </a:path>
              </a:pathLst>
            </a:custGeom>
            <a:solidFill>
              <a:srgbClr val="B2C2D1"/>
            </a:solidFill>
            <a:ln w="9525">
              <a:noFill/>
              <a:round/>
              <a:headEnd/>
              <a:tailEnd/>
            </a:ln>
          </p:spPr>
          <p:txBody>
            <a:bodyPr/>
            <a:lstStyle/>
            <a:p>
              <a:endParaRPr lang="el-GR"/>
            </a:p>
          </p:txBody>
        </p:sp>
        <p:sp>
          <p:nvSpPr>
            <p:cNvPr id="260" name="Freeform 137"/>
            <p:cNvSpPr>
              <a:spLocks/>
            </p:cNvSpPr>
            <p:nvPr/>
          </p:nvSpPr>
          <p:spPr bwMode="auto">
            <a:xfrm>
              <a:off x="3136" y="2653"/>
              <a:ext cx="14" cy="14"/>
            </a:xfrm>
            <a:custGeom>
              <a:avLst/>
              <a:gdLst>
                <a:gd name="T0" fmla="*/ 2 w 57"/>
                <a:gd name="T1" fmla="*/ 0 h 61"/>
                <a:gd name="T2" fmla="*/ 3 w 57"/>
                <a:gd name="T3" fmla="*/ 2 h 61"/>
                <a:gd name="T4" fmla="*/ 3 w 57"/>
                <a:gd name="T5" fmla="*/ 3 h 61"/>
                <a:gd name="T6" fmla="*/ 2 w 57"/>
                <a:gd name="T7" fmla="*/ 3 h 61"/>
                <a:gd name="T8" fmla="*/ 0 w 57"/>
                <a:gd name="T9" fmla="*/ 3 h 61"/>
                <a:gd name="T10" fmla="*/ 0 w 57"/>
                <a:gd name="T11" fmla="*/ 1 h 61"/>
                <a:gd name="T12" fmla="*/ 0 w 57"/>
                <a:gd name="T13" fmla="*/ 0 h 61"/>
                <a:gd name="T14" fmla="*/ 2 w 57"/>
                <a:gd name="T15" fmla="*/ 0 h 61"/>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61"/>
                <a:gd name="T26" fmla="*/ 57 w 57"/>
                <a:gd name="T27" fmla="*/ 61 h 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61">
                  <a:moveTo>
                    <a:pt x="31" y="1"/>
                  </a:moveTo>
                  <a:lnTo>
                    <a:pt x="57" y="31"/>
                  </a:lnTo>
                  <a:lnTo>
                    <a:pt x="54" y="61"/>
                  </a:lnTo>
                  <a:lnTo>
                    <a:pt x="27" y="58"/>
                  </a:lnTo>
                  <a:lnTo>
                    <a:pt x="0" y="57"/>
                  </a:lnTo>
                  <a:lnTo>
                    <a:pt x="2" y="28"/>
                  </a:lnTo>
                  <a:lnTo>
                    <a:pt x="4" y="0"/>
                  </a:lnTo>
                  <a:lnTo>
                    <a:pt x="31" y="1"/>
                  </a:lnTo>
                  <a:close/>
                </a:path>
              </a:pathLst>
            </a:custGeom>
            <a:solidFill>
              <a:srgbClr val="B2C2D1"/>
            </a:solidFill>
            <a:ln w="9525">
              <a:noFill/>
              <a:round/>
              <a:headEnd/>
              <a:tailEnd/>
            </a:ln>
          </p:spPr>
          <p:txBody>
            <a:bodyPr/>
            <a:lstStyle/>
            <a:p>
              <a:endParaRPr lang="el-GR"/>
            </a:p>
          </p:txBody>
        </p:sp>
        <p:sp>
          <p:nvSpPr>
            <p:cNvPr id="261" name="Freeform 138"/>
            <p:cNvSpPr>
              <a:spLocks/>
            </p:cNvSpPr>
            <p:nvPr/>
          </p:nvSpPr>
          <p:spPr bwMode="auto">
            <a:xfrm>
              <a:off x="3136" y="2653"/>
              <a:ext cx="14" cy="14"/>
            </a:xfrm>
            <a:custGeom>
              <a:avLst/>
              <a:gdLst>
                <a:gd name="T0" fmla="*/ 2 w 57"/>
                <a:gd name="T1" fmla="*/ 0 h 61"/>
                <a:gd name="T2" fmla="*/ 3 w 57"/>
                <a:gd name="T3" fmla="*/ 2 h 61"/>
                <a:gd name="T4" fmla="*/ 3 w 57"/>
                <a:gd name="T5" fmla="*/ 3 h 61"/>
                <a:gd name="T6" fmla="*/ 2 w 57"/>
                <a:gd name="T7" fmla="*/ 3 h 61"/>
                <a:gd name="T8" fmla="*/ 0 w 57"/>
                <a:gd name="T9" fmla="*/ 3 h 61"/>
                <a:gd name="T10" fmla="*/ 0 w 57"/>
                <a:gd name="T11" fmla="*/ 1 h 61"/>
                <a:gd name="T12" fmla="*/ 0 w 57"/>
                <a:gd name="T13" fmla="*/ 0 h 61"/>
                <a:gd name="T14" fmla="*/ 2 w 57"/>
                <a:gd name="T15" fmla="*/ 0 h 61"/>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61"/>
                <a:gd name="T26" fmla="*/ 57 w 57"/>
                <a:gd name="T27" fmla="*/ 61 h 6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61">
                  <a:moveTo>
                    <a:pt x="31" y="1"/>
                  </a:moveTo>
                  <a:lnTo>
                    <a:pt x="57" y="31"/>
                  </a:lnTo>
                  <a:lnTo>
                    <a:pt x="54" y="61"/>
                  </a:lnTo>
                  <a:lnTo>
                    <a:pt x="27" y="58"/>
                  </a:lnTo>
                  <a:lnTo>
                    <a:pt x="0" y="57"/>
                  </a:lnTo>
                  <a:lnTo>
                    <a:pt x="2" y="28"/>
                  </a:lnTo>
                  <a:lnTo>
                    <a:pt x="4" y="0"/>
                  </a:lnTo>
                  <a:lnTo>
                    <a:pt x="31" y="1"/>
                  </a:lnTo>
                </a:path>
              </a:pathLst>
            </a:custGeom>
            <a:solidFill>
              <a:srgbClr val="B2C2D1"/>
            </a:solidFill>
            <a:ln w="9525">
              <a:noFill/>
              <a:round/>
              <a:headEnd/>
              <a:tailEnd/>
            </a:ln>
          </p:spPr>
          <p:txBody>
            <a:bodyPr/>
            <a:lstStyle/>
            <a:p>
              <a:endParaRPr lang="el-GR"/>
            </a:p>
          </p:txBody>
        </p:sp>
        <p:sp>
          <p:nvSpPr>
            <p:cNvPr id="262" name="Freeform 139"/>
            <p:cNvSpPr>
              <a:spLocks/>
            </p:cNvSpPr>
            <p:nvPr/>
          </p:nvSpPr>
          <p:spPr bwMode="auto">
            <a:xfrm>
              <a:off x="3803" y="2431"/>
              <a:ext cx="27" cy="14"/>
            </a:xfrm>
            <a:custGeom>
              <a:avLst/>
              <a:gdLst>
                <a:gd name="T0" fmla="*/ 3 w 114"/>
                <a:gd name="T1" fmla="*/ 3 h 60"/>
                <a:gd name="T2" fmla="*/ 5 w 114"/>
                <a:gd name="T3" fmla="*/ 2 h 60"/>
                <a:gd name="T4" fmla="*/ 6 w 114"/>
                <a:gd name="T5" fmla="*/ 2 h 60"/>
                <a:gd name="T6" fmla="*/ 6 w 114"/>
                <a:gd name="T7" fmla="*/ 0 h 60"/>
                <a:gd name="T8" fmla="*/ 3 w 114"/>
                <a:gd name="T9" fmla="*/ 0 h 60"/>
                <a:gd name="T10" fmla="*/ 0 w 114"/>
                <a:gd name="T11" fmla="*/ 0 h 60"/>
                <a:gd name="T12" fmla="*/ 1 w 114"/>
                <a:gd name="T13" fmla="*/ 3 h 60"/>
                <a:gd name="T14" fmla="*/ 3 w 114"/>
                <a:gd name="T15" fmla="*/ 3 h 60"/>
                <a:gd name="T16" fmla="*/ 0 60000 65536"/>
                <a:gd name="T17" fmla="*/ 0 60000 65536"/>
                <a:gd name="T18" fmla="*/ 0 60000 65536"/>
                <a:gd name="T19" fmla="*/ 0 60000 65536"/>
                <a:gd name="T20" fmla="*/ 0 60000 65536"/>
                <a:gd name="T21" fmla="*/ 0 60000 65536"/>
                <a:gd name="T22" fmla="*/ 0 60000 65536"/>
                <a:gd name="T23" fmla="*/ 0 60000 65536"/>
                <a:gd name="T24" fmla="*/ 0 w 114"/>
                <a:gd name="T25" fmla="*/ 0 h 60"/>
                <a:gd name="T26" fmla="*/ 114 w 114"/>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4" h="60">
                  <a:moveTo>
                    <a:pt x="53" y="60"/>
                  </a:moveTo>
                  <a:lnTo>
                    <a:pt x="83" y="33"/>
                  </a:lnTo>
                  <a:lnTo>
                    <a:pt x="111" y="34"/>
                  </a:lnTo>
                  <a:lnTo>
                    <a:pt x="114" y="5"/>
                  </a:lnTo>
                  <a:lnTo>
                    <a:pt x="56" y="2"/>
                  </a:lnTo>
                  <a:lnTo>
                    <a:pt x="0" y="0"/>
                  </a:lnTo>
                  <a:lnTo>
                    <a:pt x="26" y="59"/>
                  </a:lnTo>
                  <a:lnTo>
                    <a:pt x="53" y="60"/>
                  </a:lnTo>
                  <a:close/>
                </a:path>
              </a:pathLst>
            </a:custGeom>
            <a:solidFill>
              <a:srgbClr val="B2C2D1"/>
            </a:solidFill>
            <a:ln w="9525">
              <a:noFill/>
              <a:round/>
              <a:headEnd/>
              <a:tailEnd/>
            </a:ln>
          </p:spPr>
          <p:txBody>
            <a:bodyPr/>
            <a:lstStyle/>
            <a:p>
              <a:endParaRPr lang="el-GR"/>
            </a:p>
          </p:txBody>
        </p:sp>
        <p:sp>
          <p:nvSpPr>
            <p:cNvPr id="263" name="Freeform 140"/>
            <p:cNvSpPr>
              <a:spLocks/>
            </p:cNvSpPr>
            <p:nvPr/>
          </p:nvSpPr>
          <p:spPr bwMode="auto">
            <a:xfrm>
              <a:off x="3803" y="2431"/>
              <a:ext cx="27" cy="14"/>
            </a:xfrm>
            <a:custGeom>
              <a:avLst/>
              <a:gdLst>
                <a:gd name="T0" fmla="*/ 3 w 114"/>
                <a:gd name="T1" fmla="*/ 3 h 60"/>
                <a:gd name="T2" fmla="*/ 5 w 114"/>
                <a:gd name="T3" fmla="*/ 2 h 60"/>
                <a:gd name="T4" fmla="*/ 6 w 114"/>
                <a:gd name="T5" fmla="*/ 2 h 60"/>
                <a:gd name="T6" fmla="*/ 6 w 114"/>
                <a:gd name="T7" fmla="*/ 0 h 60"/>
                <a:gd name="T8" fmla="*/ 3 w 114"/>
                <a:gd name="T9" fmla="*/ 0 h 60"/>
                <a:gd name="T10" fmla="*/ 0 w 114"/>
                <a:gd name="T11" fmla="*/ 0 h 60"/>
                <a:gd name="T12" fmla="*/ 1 w 114"/>
                <a:gd name="T13" fmla="*/ 3 h 60"/>
                <a:gd name="T14" fmla="*/ 3 w 114"/>
                <a:gd name="T15" fmla="*/ 3 h 60"/>
                <a:gd name="T16" fmla="*/ 0 60000 65536"/>
                <a:gd name="T17" fmla="*/ 0 60000 65536"/>
                <a:gd name="T18" fmla="*/ 0 60000 65536"/>
                <a:gd name="T19" fmla="*/ 0 60000 65536"/>
                <a:gd name="T20" fmla="*/ 0 60000 65536"/>
                <a:gd name="T21" fmla="*/ 0 60000 65536"/>
                <a:gd name="T22" fmla="*/ 0 60000 65536"/>
                <a:gd name="T23" fmla="*/ 0 60000 65536"/>
                <a:gd name="T24" fmla="*/ 0 w 114"/>
                <a:gd name="T25" fmla="*/ 0 h 60"/>
                <a:gd name="T26" fmla="*/ 114 w 114"/>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4" h="60">
                  <a:moveTo>
                    <a:pt x="53" y="60"/>
                  </a:moveTo>
                  <a:lnTo>
                    <a:pt x="83" y="33"/>
                  </a:lnTo>
                  <a:lnTo>
                    <a:pt x="111" y="34"/>
                  </a:lnTo>
                  <a:lnTo>
                    <a:pt x="114" y="5"/>
                  </a:lnTo>
                  <a:lnTo>
                    <a:pt x="56" y="2"/>
                  </a:lnTo>
                  <a:lnTo>
                    <a:pt x="0" y="0"/>
                  </a:lnTo>
                  <a:lnTo>
                    <a:pt x="26" y="59"/>
                  </a:lnTo>
                  <a:lnTo>
                    <a:pt x="53" y="60"/>
                  </a:lnTo>
                </a:path>
              </a:pathLst>
            </a:custGeom>
            <a:solidFill>
              <a:srgbClr val="B2C2D1"/>
            </a:solidFill>
            <a:ln w="9525">
              <a:noFill/>
              <a:round/>
              <a:headEnd/>
              <a:tailEnd/>
            </a:ln>
          </p:spPr>
          <p:txBody>
            <a:bodyPr/>
            <a:lstStyle/>
            <a:p>
              <a:endParaRPr lang="el-GR"/>
            </a:p>
          </p:txBody>
        </p:sp>
        <p:sp>
          <p:nvSpPr>
            <p:cNvPr id="264" name="Freeform 141"/>
            <p:cNvSpPr>
              <a:spLocks/>
            </p:cNvSpPr>
            <p:nvPr/>
          </p:nvSpPr>
          <p:spPr bwMode="auto">
            <a:xfrm>
              <a:off x="3294" y="2418"/>
              <a:ext cx="14" cy="29"/>
            </a:xfrm>
            <a:custGeom>
              <a:avLst/>
              <a:gdLst>
                <a:gd name="T0" fmla="*/ 2 w 59"/>
                <a:gd name="T1" fmla="*/ 3 h 119"/>
                <a:gd name="T2" fmla="*/ 3 w 59"/>
                <a:gd name="T3" fmla="*/ 5 h 119"/>
                <a:gd name="T4" fmla="*/ 3 w 59"/>
                <a:gd name="T5" fmla="*/ 4 h 119"/>
                <a:gd name="T6" fmla="*/ 3 w 59"/>
                <a:gd name="T7" fmla="*/ 7 h 119"/>
                <a:gd name="T8" fmla="*/ 2 w 59"/>
                <a:gd name="T9" fmla="*/ 5 h 119"/>
                <a:gd name="T10" fmla="*/ 2 w 59"/>
                <a:gd name="T11" fmla="*/ 7 h 119"/>
                <a:gd name="T12" fmla="*/ 0 w 59"/>
                <a:gd name="T13" fmla="*/ 7 h 119"/>
                <a:gd name="T14" fmla="*/ 2 w 59"/>
                <a:gd name="T15" fmla="*/ 7 h 119"/>
                <a:gd name="T16" fmla="*/ 2 w 59"/>
                <a:gd name="T17" fmla="*/ 5 h 119"/>
                <a:gd name="T18" fmla="*/ 2 w 59"/>
                <a:gd name="T19" fmla="*/ 3 h 119"/>
                <a:gd name="T20" fmla="*/ 0 w 59"/>
                <a:gd name="T21" fmla="*/ 3 h 119"/>
                <a:gd name="T22" fmla="*/ 0 w 59"/>
                <a:gd name="T23" fmla="*/ 2 h 119"/>
                <a:gd name="T24" fmla="*/ 0 w 59"/>
                <a:gd name="T25" fmla="*/ 0 h 119"/>
                <a:gd name="T26" fmla="*/ 0 w 59"/>
                <a:gd name="T27" fmla="*/ 2 h 119"/>
                <a:gd name="T28" fmla="*/ 2 w 59"/>
                <a:gd name="T29" fmla="*/ 2 h 119"/>
                <a:gd name="T30" fmla="*/ 2 w 59"/>
                <a:gd name="T31" fmla="*/ 0 h 119"/>
                <a:gd name="T32" fmla="*/ 2 w 59"/>
                <a:gd name="T33" fmla="*/ 2 h 119"/>
                <a:gd name="T34" fmla="*/ 3 w 59"/>
                <a:gd name="T35" fmla="*/ 4 h 119"/>
                <a:gd name="T36" fmla="*/ 2 w 59"/>
                <a:gd name="T37" fmla="*/ 3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119"/>
                <a:gd name="T59" fmla="*/ 59 w 59"/>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119">
                  <a:moveTo>
                    <a:pt x="31" y="59"/>
                  </a:moveTo>
                  <a:lnTo>
                    <a:pt x="57" y="90"/>
                  </a:lnTo>
                  <a:lnTo>
                    <a:pt x="59" y="60"/>
                  </a:lnTo>
                  <a:lnTo>
                    <a:pt x="55" y="119"/>
                  </a:lnTo>
                  <a:lnTo>
                    <a:pt x="29" y="88"/>
                  </a:lnTo>
                  <a:lnTo>
                    <a:pt x="28" y="117"/>
                  </a:lnTo>
                  <a:lnTo>
                    <a:pt x="0" y="116"/>
                  </a:lnTo>
                  <a:lnTo>
                    <a:pt x="28" y="117"/>
                  </a:lnTo>
                  <a:lnTo>
                    <a:pt x="29" y="88"/>
                  </a:lnTo>
                  <a:lnTo>
                    <a:pt x="31" y="59"/>
                  </a:lnTo>
                  <a:lnTo>
                    <a:pt x="5" y="58"/>
                  </a:lnTo>
                  <a:lnTo>
                    <a:pt x="6" y="29"/>
                  </a:lnTo>
                  <a:lnTo>
                    <a:pt x="7" y="0"/>
                  </a:lnTo>
                  <a:lnTo>
                    <a:pt x="6" y="29"/>
                  </a:lnTo>
                  <a:lnTo>
                    <a:pt x="33" y="30"/>
                  </a:lnTo>
                  <a:lnTo>
                    <a:pt x="34" y="1"/>
                  </a:lnTo>
                  <a:lnTo>
                    <a:pt x="33" y="30"/>
                  </a:lnTo>
                  <a:lnTo>
                    <a:pt x="59" y="60"/>
                  </a:lnTo>
                  <a:lnTo>
                    <a:pt x="31" y="59"/>
                  </a:lnTo>
                  <a:close/>
                </a:path>
              </a:pathLst>
            </a:custGeom>
            <a:solidFill>
              <a:srgbClr val="B2C2D1"/>
            </a:solidFill>
            <a:ln w="9525">
              <a:noFill/>
              <a:round/>
              <a:headEnd/>
              <a:tailEnd/>
            </a:ln>
          </p:spPr>
          <p:txBody>
            <a:bodyPr/>
            <a:lstStyle/>
            <a:p>
              <a:endParaRPr lang="el-GR"/>
            </a:p>
          </p:txBody>
        </p:sp>
        <p:sp>
          <p:nvSpPr>
            <p:cNvPr id="265" name="Freeform 142"/>
            <p:cNvSpPr>
              <a:spLocks/>
            </p:cNvSpPr>
            <p:nvPr/>
          </p:nvSpPr>
          <p:spPr bwMode="auto">
            <a:xfrm>
              <a:off x="3294" y="2418"/>
              <a:ext cx="14" cy="29"/>
            </a:xfrm>
            <a:custGeom>
              <a:avLst/>
              <a:gdLst>
                <a:gd name="T0" fmla="*/ 2 w 59"/>
                <a:gd name="T1" fmla="*/ 3 h 119"/>
                <a:gd name="T2" fmla="*/ 3 w 59"/>
                <a:gd name="T3" fmla="*/ 5 h 119"/>
                <a:gd name="T4" fmla="*/ 3 w 59"/>
                <a:gd name="T5" fmla="*/ 4 h 119"/>
                <a:gd name="T6" fmla="*/ 3 w 59"/>
                <a:gd name="T7" fmla="*/ 7 h 119"/>
                <a:gd name="T8" fmla="*/ 2 w 59"/>
                <a:gd name="T9" fmla="*/ 5 h 119"/>
                <a:gd name="T10" fmla="*/ 2 w 59"/>
                <a:gd name="T11" fmla="*/ 7 h 119"/>
                <a:gd name="T12" fmla="*/ 0 w 59"/>
                <a:gd name="T13" fmla="*/ 7 h 119"/>
                <a:gd name="T14" fmla="*/ 2 w 59"/>
                <a:gd name="T15" fmla="*/ 7 h 119"/>
                <a:gd name="T16" fmla="*/ 2 w 59"/>
                <a:gd name="T17" fmla="*/ 5 h 119"/>
                <a:gd name="T18" fmla="*/ 2 w 59"/>
                <a:gd name="T19" fmla="*/ 3 h 119"/>
                <a:gd name="T20" fmla="*/ 0 w 59"/>
                <a:gd name="T21" fmla="*/ 3 h 119"/>
                <a:gd name="T22" fmla="*/ 0 w 59"/>
                <a:gd name="T23" fmla="*/ 2 h 119"/>
                <a:gd name="T24" fmla="*/ 0 w 59"/>
                <a:gd name="T25" fmla="*/ 0 h 119"/>
                <a:gd name="T26" fmla="*/ 0 w 59"/>
                <a:gd name="T27" fmla="*/ 2 h 119"/>
                <a:gd name="T28" fmla="*/ 2 w 59"/>
                <a:gd name="T29" fmla="*/ 2 h 119"/>
                <a:gd name="T30" fmla="*/ 2 w 59"/>
                <a:gd name="T31" fmla="*/ 0 h 119"/>
                <a:gd name="T32" fmla="*/ 2 w 59"/>
                <a:gd name="T33" fmla="*/ 2 h 119"/>
                <a:gd name="T34" fmla="*/ 3 w 59"/>
                <a:gd name="T35" fmla="*/ 4 h 119"/>
                <a:gd name="T36" fmla="*/ 2 w 59"/>
                <a:gd name="T37" fmla="*/ 3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
                <a:gd name="T58" fmla="*/ 0 h 119"/>
                <a:gd name="T59" fmla="*/ 59 w 59"/>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 h="119">
                  <a:moveTo>
                    <a:pt x="31" y="59"/>
                  </a:moveTo>
                  <a:lnTo>
                    <a:pt x="57" y="90"/>
                  </a:lnTo>
                  <a:lnTo>
                    <a:pt x="59" y="60"/>
                  </a:lnTo>
                  <a:lnTo>
                    <a:pt x="55" y="119"/>
                  </a:lnTo>
                  <a:lnTo>
                    <a:pt x="29" y="88"/>
                  </a:lnTo>
                  <a:lnTo>
                    <a:pt x="28" y="117"/>
                  </a:lnTo>
                  <a:lnTo>
                    <a:pt x="0" y="116"/>
                  </a:lnTo>
                  <a:lnTo>
                    <a:pt x="28" y="117"/>
                  </a:lnTo>
                  <a:lnTo>
                    <a:pt x="29" y="88"/>
                  </a:lnTo>
                  <a:lnTo>
                    <a:pt x="31" y="59"/>
                  </a:lnTo>
                  <a:lnTo>
                    <a:pt x="5" y="58"/>
                  </a:lnTo>
                  <a:lnTo>
                    <a:pt x="6" y="29"/>
                  </a:lnTo>
                  <a:lnTo>
                    <a:pt x="7" y="0"/>
                  </a:lnTo>
                  <a:lnTo>
                    <a:pt x="6" y="29"/>
                  </a:lnTo>
                  <a:lnTo>
                    <a:pt x="33" y="30"/>
                  </a:lnTo>
                  <a:lnTo>
                    <a:pt x="34" y="1"/>
                  </a:lnTo>
                  <a:lnTo>
                    <a:pt x="33" y="30"/>
                  </a:lnTo>
                  <a:lnTo>
                    <a:pt x="59" y="60"/>
                  </a:lnTo>
                  <a:lnTo>
                    <a:pt x="31" y="59"/>
                  </a:lnTo>
                </a:path>
              </a:pathLst>
            </a:custGeom>
            <a:solidFill>
              <a:srgbClr val="B2C2D1"/>
            </a:solidFill>
            <a:ln w="9525">
              <a:noFill/>
              <a:round/>
              <a:headEnd/>
              <a:tailEnd/>
            </a:ln>
          </p:spPr>
          <p:txBody>
            <a:bodyPr/>
            <a:lstStyle/>
            <a:p>
              <a:endParaRPr lang="el-GR"/>
            </a:p>
          </p:txBody>
        </p:sp>
        <p:sp>
          <p:nvSpPr>
            <p:cNvPr id="266" name="Freeform 143"/>
            <p:cNvSpPr>
              <a:spLocks/>
            </p:cNvSpPr>
            <p:nvPr/>
          </p:nvSpPr>
          <p:spPr bwMode="auto">
            <a:xfrm>
              <a:off x="3419" y="2625"/>
              <a:ext cx="20" cy="15"/>
            </a:xfrm>
            <a:custGeom>
              <a:avLst/>
              <a:gdLst>
                <a:gd name="T0" fmla="*/ 3 w 85"/>
                <a:gd name="T1" fmla="*/ 4 h 61"/>
                <a:gd name="T2" fmla="*/ 3 w 85"/>
                <a:gd name="T3" fmla="*/ 4 h 61"/>
                <a:gd name="T4" fmla="*/ 5 w 85"/>
                <a:gd name="T5" fmla="*/ 4 h 61"/>
                <a:gd name="T6" fmla="*/ 5 w 85"/>
                <a:gd name="T7" fmla="*/ 2 h 61"/>
                <a:gd name="T8" fmla="*/ 3 w 85"/>
                <a:gd name="T9" fmla="*/ 0 h 61"/>
                <a:gd name="T10" fmla="*/ 2 w 85"/>
                <a:gd name="T11" fmla="*/ 0 h 61"/>
                <a:gd name="T12" fmla="*/ 2 w 85"/>
                <a:gd name="T13" fmla="*/ 2 h 61"/>
                <a:gd name="T14" fmla="*/ 0 w 85"/>
                <a:gd name="T15" fmla="*/ 2 h 61"/>
                <a:gd name="T16" fmla="*/ 2 w 85"/>
                <a:gd name="T17" fmla="*/ 2 h 61"/>
                <a:gd name="T18" fmla="*/ 3 w 85"/>
                <a:gd name="T19" fmla="*/ 4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61"/>
                <a:gd name="T32" fmla="*/ 85 w 85"/>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61">
                  <a:moveTo>
                    <a:pt x="54" y="60"/>
                  </a:moveTo>
                  <a:lnTo>
                    <a:pt x="54" y="60"/>
                  </a:lnTo>
                  <a:lnTo>
                    <a:pt x="83" y="61"/>
                  </a:lnTo>
                  <a:lnTo>
                    <a:pt x="85" y="31"/>
                  </a:lnTo>
                  <a:lnTo>
                    <a:pt x="58" y="2"/>
                  </a:lnTo>
                  <a:lnTo>
                    <a:pt x="31" y="0"/>
                  </a:lnTo>
                  <a:lnTo>
                    <a:pt x="28" y="29"/>
                  </a:lnTo>
                  <a:lnTo>
                    <a:pt x="0" y="28"/>
                  </a:lnTo>
                  <a:lnTo>
                    <a:pt x="28" y="29"/>
                  </a:lnTo>
                  <a:lnTo>
                    <a:pt x="54" y="60"/>
                  </a:lnTo>
                  <a:close/>
                </a:path>
              </a:pathLst>
            </a:custGeom>
            <a:solidFill>
              <a:srgbClr val="B2C2D1"/>
            </a:solidFill>
            <a:ln w="9525">
              <a:noFill/>
              <a:round/>
              <a:headEnd/>
              <a:tailEnd/>
            </a:ln>
          </p:spPr>
          <p:txBody>
            <a:bodyPr/>
            <a:lstStyle/>
            <a:p>
              <a:endParaRPr lang="el-GR"/>
            </a:p>
          </p:txBody>
        </p:sp>
        <p:sp>
          <p:nvSpPr>
            <p:cNvPr id="267" name="Freeform 144"/>
            <p:cNvSpPr>
              <a:spLocks/>
            </p:cNvSpPr>
            <p:nvPr/>
          </p:nvSpPr>
          <p:spPr bwMode="auto">
            <a:xfrm>
              <a:off x="3419" y="2625"/>
              <a:ext cx="20" cy="15"/>
            </a:xfrm>
            <a:custGeom>
              <a:avLst/>
              <a:gdLst>
                <a:gd name="T0" fmla="*/ 3 w 85"/>
                <a:gd name="T1" fmla="*/ 4 h 61"/>
                <a:gd name="T2" fmla="*/ 3 w 85"/>
                <a:gd name="T3" fmla="*/ 4 h 61"/>
                <a:gd name="T4" fmla="*/ 5 w 85"/>
                <a:gd name="T5" fmla="*/ 4 h 61"/>
                <a:gd name="T6" fmla="*/ 5 w 85"/>
                <a:gd name="T7" fmla="*/ 2 h 61"/>
                <a:gd name="T8" fmla="*/ 3 w 85"/>
                <a:gd name="T9" fmla="*/ 0 h 61"/>
                <a:gd name="T10" fmla="*/ 2 w 85"/>
                <a:gd name="T11" fmla="*/ 0 h 61"/>
                <a:gd name="T12" fmla="*/ 2 w 85"/>
                <a:gd name="T13" fmla="*/ 2 h 61"/>
                <a:gd name="T14" fmla="*/ 0 w 85"/>
                <a:gd name="T15" fmla="*/ 2 h 61"/>
                <a:gd name="T16" fmla="*/ 2 w 85"/>
                <a:gd name="T17" fmla="*/ 2 h 61"/>
                <a:gd name="T18" fmla="*/ 3 w 85"/>
                <a:gd name="T19" fmla="*/ 4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61"/>
                <a:gd name="T32" fmla="*/ 85 w 85"/>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61">
                  <a:moveTo>
                    <a:pt x="54" y="60"/>
                  </a:moveTo>
                  <a:lnTo>
                    <a:pt x="54" y="60"/>
                  </a:lnTo>
                  <a:lnTo>
                    <a:pt x="83" y="61"/>
                  </a:lnTo>
                  <a:lnTo>
                    <a:pt x="85" y="31"/>
                  </a:lnTo>
                  <a:lnTo>
                    <a:pt x="58" y="2"/>
                  </a:lnTo>
                  <a:lnTo>
                    <a:pt x="31" y="0"/>
                  </a:lnTo>
                  <a:lnTo>
                    <a:pt x="28" y="29"/>
                  </a:lnTo>
                  <a:lnTo>
                    <a:pt x="0" y="28"/>
                  </a:lnTo>
                  <a:lnTo>
                    <a:pt x="28" y="29"/>
                  </a:lnTo>
                  <a:lnTo>
                    <a:pt x="54" y="60"/>
                  </a:lnTo>
                </a:path>
              </a:pathLst>
            </a:custGeom>
            <a:solidFill>
              <a:srgbClr val="B2C2D1"/>
            </a:solidFill>
            <a:ln w="9525">
              <a:noFill/>
              <a:round/>
              <a:headEnd/>
              <a:tailEnd/>
            </a:ln>
          </p:spPr>
          <p:txBody>
            <a:bodyPr/>
            <a:lstStyle/>
            <a:p>
              <a:endParaRPr lang="el-GR"/>
            </a:p>
          </p:txBody>
        </p:sp>
        <p:sp>
          <p:nvSpPr>
            <p:cNvPr id="268" name="Freeform 145"/>
            <p:cNvSpPr>
              <a:spLocks/>
            </p:cNvSpPr>
            <p:nvPr/>
          </p:nvSpPr>
          <p:spPr bwMode="auto">
            <a:xfrm>
              <a:off x="3848" y="2614"/>
              <a:ext cx="20" cy="15"/>
            </a:xfrm>
            <a:custGeom>
              <a:avLst/>
              <a:gdLst>
                <a:gd name="T0" fmla="*/ 0 w 83"/>
                <a:gd name="T1" fmla="*/ 0 h 61"/>
                <a:gd name="T2" fmla="*/ 3 w 83"/>
                <a:gd name="T3" fmla="*/ 4 h 61"/>
                <a:gd name="T4" fmla="*/ 5 w 83"/>
                <a:gd name="T5" fmla="*/ 4 h 61"/>
                <a:gd name="T6" fmla="*/ 3 w 83"/>
                <a:gd name="T7" fmla="*/ 2 h 61"/>
                <a:gd name="T8" fmla="*/ 5 w 83"/>
                <a:gd name="T9" fmla="*/ 0 h 61"/>
                <a:gd name="T10" fmla="*/ 3 w 83"/>
                <a:gd name="T11" fmla="*/ 0 h 61"/>
                <a:gd name="T12" fmla="*/ 0 w 83"/>
                <a:gd name="T13" fmla="*/ 0 h 61"/>
                <a:gd name="T14" fmla="*/ 0 60000 65536"/>
                <a:gd name="T15" fmla="*/ 0 60000 65536"/>
                <a:gd name="T16" fmla="*/ 0 60000 65536"/>
                <a:gd name="T17" fmla="*/ 0 60000 65536"/>
                <a:gd name="T18" fmla="*/ 0 60000 65536"/>
                <a:gd name="T19" fmla="*/ 0 60000 65536"/>
                <a:gd name="T20" fmla="*/ 0 60000 65536"/>
                <a:gd name="T21" fmla="*/ 0 w 83"/>
                <a:gd name="T22" fmla="*/ 0 h 61"/>
                <a:gd name="T23" fmla="*/ 83 w 83"/>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1">
                  <a:moveTo>
                    <a:pt x="0" y="0"/>
                  </a:moveTo>
                  <a:lnTo>
                    <a:pt x="52" y="60"/>
                  </a:lnTo>
                  <a:lnTo>
                    <a:pt x="80" y="61"/>
                  </a:lnTo>
                  <a:lnTo>
                    <a:pt x="54" y="31"/>
                  </a:lnTo>
                  <a:lnTo>
                    <a:pt x="83" y="3"/>
                  </a:lnTo>
                  <a:lnTo>
                    <a:pt x="56" y="2"/>
                  </a:lnTo>
                  <a:lnTo>
                    <a:pt x="0" y="0"/>
                  </a:lnTo>
                  <a:close/>
                </a:path>
              </a:pathLst>
            </a:custGeom>
            <a:solidFill>
              <a:srgbClr val="B2C2D1"/>
            </a:solidFill>
            <a:ln w="9525">
              <a:noFill/>
              <a:round/>
              <a:headEnd/>
              <a:tailEnd/>
            </a:ln>
          </p:spPr>
          <p:txBody>
            <a:bodyPr/>
            <a:lstStyle/>
            <a:p>
              <a:endParaRPr lang="el-GR"/>
            </a:p>
          </p:txBody>
        </p:sp>
        <p:sp>
          <p:nvSpPr>
            <p:cNvPr id="269" name="Freeform 146"/>
            <p:cNvSpPr>
              <a:spLocks/>
            </p:cNvSpPr>
            <p:nvPr/>
          </p:nvSpPr>
          <p:spPr bwMode="auto">
            <a:xfrm>
              <a:off x="3848" y="2614"/>
              <a:ext cx="20" cy="15"/>
            </a:xfrm>
            <a:custGeom>
              <a:avLst/>
              <a:gdLst>
                <a:gd name="T0" fmla="*/ 0 w 83"/>
                <a:gd name="T1" fmla="*/ 0 h 61"/>
                <a:gd name="T2" fmla="*/ 3 w 83"/>
                <a:gd name="T3" fmla="*/ 4 h 61"/>
                <a:gd name="T4" fmla="*/ 5 w 83"/>
                <a:gd name="T5" fmla="*/ 4 h 61"/>
                <a:gd name="T6" fmla="*/ 3 w 83"/>
                <a:gd name="T7" fmla="*/ 2 h 61"/>
                <a:gd name="T8" fmla="*/ 5 w 83"/>
                <a:gd name="T9" fmla="*/ 0 h 61"/>
                <a:gd name="T10" fmla="*/ 3 w 83"/>
                <a:gd name="T11" fmla="*/ 0 h 61"/>
                <a:gd name="T12" fmla="*/ 0 w 83"/>
                <a:gd name="T13" fmla="*/ 0 h 61"/>
                <a:gd name="T14" fmla="*/ 0 60000 65536"/>
                <a:gd name="T15" fmla="*/ 0 60000 65536"/>
                <a:gd name="T16" fmla="*/ 0 60000 65536"/>
                <a:gd name="T17" fmla="*/ 0 60000 65536"/>
                <a:gd name="T18" fmla="*/ 0 60000 65536"/>
                <a:gd name="T19" fmla="*/ 0 60000 65536"/>
                <a:gd name="T20" fmla="*/ 0 60000 65536"/>
                <a:gd name="T21" fmla="*/ 0 w 83"/>
                <a:gd name="T22" fmla="*/ 0 h 61"/>
                <a:gd name="T23" fmla="*/ 83 w 83"/>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1">
                  <a:moveTo>
                    <a:pt x="0" y="0"/>
                  </a:moveTo>
                  <a:lnTo>
                    <a:pt x="52" y="60"/>
                  </a:lnTo>
                  <a:lnTo>
                    <a:pt x="80" y="61"/>
                  </a:lnTo>
                  <a:lnTo>
                    <a:pt x="54" y="31"/>
                  </a:lnTo>
                  <a:lnTo>
                    <a:pt x="83" y="3"/>
                  </a:lnTo>
                  <a:lnTo>
                    <a:pt x="56" y="2"/>
                  </a:lnTo>
                  <a:lnTo>
                    <a:pt x="0" y="0"/>
                  </a:lnTo>
                </a:path>
              </a:pathLst>
            </a:custGeom>
            <a:solidFill>
              <a:srgbClr val="B2C2D1"/>
            </a:solidFill>
            <a:ln w="9525">
              <a:noFill/>
              <a:round/>
              <a:headEnd/>
              <a:tailEnd/>
            </a:ln>
          </p:spPr>
          <p:txBody>
            <a:bodyPr/>
            <a:lstStyle/>
            <a:p>
              <a:endParaRPr lang="el-GR"/>
            </a:p>
          </p:txBody>
        </p:sp>
        <p:sp>
          <p:nvSpPr>
            <p:cNvPr id="270" name="Freeform 147"/>
            <p:cNvSpPr>
              <a:spLocks/>
            </p:cNvSpPr>
            <p:nvPr/>
          </p:nvSpPr>
          <p:spPr bwMode="auto">
            <a:xfrm>
              <a:off x="3240" y="2589"/>
              <a:ext cx="20" cy="14"/>
            </a:xfrm>
            <a:custGeom>
              <a:avLst/>
              <a:gdLst>
                <a:gd name="T0" fmla="*/ 0 w 83"/>
                <a:gd name="T1" fmla="*/ 2 h 60"/>
                <a:gd name="T2" fmla="*/ 1 w 83"/>
                <a:gd name="T3" fmla="*/ 3 h 60"/>
                <a:gd name="T4" fmla="*/ 3 w 83"/>
                <a:gd name="T5" fmla="*/ 3 h 60"/>
                <a:gd name="T6" fmla="*/ 5 w 83"/>
                <a:gd name="T7" fmla="*/ 2 h 60"/>
                <a:gd name="T8" fmla="*/ 3 w 83"/>
                <a:gd name="T9" fmla="*/ 2 h 60"/>
                <a:gd name="T10" fmla="*/ 2 w 83"/>
                <a:gd name="T11" fmla="*/ 0 h 60"/>
                <a:gd name="T12" fmla="*/ 0 w 83"/>
                <a:gd name="T13" fmla="*/ 2 h 60"/>
                <a:gd name="T14" fmla="*/ 0 60000 65536"/>
                <a:gd name="T15" fmla="*/ 0 60000 65536"/>
                <a:gd name="T16" fmla="*/ 0 60000 65536"/>
                <a:gd name="T17" fmla="*/ 0 60000 65536"/>
                <a:gd name="T18" fmla="*/ 0 60000 65536"/>
                <a:gd name="T19" fmla="*/ 0 60000 65536"/>
                <a:gd name="T20" fmla="*/ 0 60000 65536"/>
                <a:gd name="T21" fmla="*/ 0 w 83"/>
                <a:gd name="T22" fmla="*/ 0 h 60"/>
                <a:gd name="T23" fmla="*/ 83 w 83"/>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0">
                  <a:moveTo>
                    <a:pt x="0" y="29"/>
                  </a:moveTo>
                  <a:lnTo>
                    <a:pt x="26" y="59"/>
                  </a:lnTo>
                  <a:lnTo>
                    <a:pt x="54" y="60"/>
                  </a:lnTo>
                  <a:lnTo>
                    <a:pt x="83" y="33"/>
                  </a:lnTo>
                  <a:lnTo>
                    <a:pt x="55" y="31"/>
                  </a:lnTo>
                  <a:lnTo>
                    <a:pt x="29" y="0"/>
                  </a:lnTo>
                  <a:lnTo>
                    <a:pt x="0" y="29"/>
                  </a:lnTo>
                  <a:close/>
                </a:path>
              </a:pathLst>
            </a:custGeom>
            <a:solidFill>
              <a:srgbClr val="B2C2D1"/>
            </a:solidFill>
            <a:ln w="9525">
              <a:noFill/>
              <a:round/>
              <a:headEnd/>
              <a:tailEnd/>
            </a:ln>
          </p:spPr>
          <p:txBody>
            <a:bodyPr/>
            <a:lstStyle/>
            <a:p>
              <a:endParaRPr lang="el-GR"/>
            </a:p>
          </p:txBody>
        </p:sp>
        <p:sp>
          <p:nvSpPr>
            <p:cNvPr id="271" name="Freeform 148"/>
            <p:cNvSpPr>
              <a:spLocks/>
            </p:cNvSpPr>
            <p:nvPr/>
          </p:nvSpPr>
          <p:spPr bwMode="auto">
            <a:xfrm>
              <a:off x="3240" y="2589"/>
              <a:ext cx="20" cy="14"/>
            </a:xfrm>
            <a:custGeom>
              <a:avLst/>
              <a:gdLst>
                <a:gd name="T0" fmla="*/ 0 w 83"/>
                <a:gd name="T1" fmla="*/ 2 h 60"/>
                <a:gd name="T2" fmla="*/ 1 w 83"/>
                <a:gd name="T3" fmla="*/ 3 h 60"/>
                <a:gd name="T4" fmla="*/ 3 w 83"/>
                <a:gd name="T5" fmla="*/ 3 h 60"/>
                <a:gd name="T6" fmla="*/ 5 w 83"/>
                <a:gd name="T7" fmla="*/ 2 h 60"/>
                <a:gd name="T8" fmla="*/ 3 w 83"/>
                <a:gd name="T9" fmla="*/ 2 h 60"/>
                <a:gd name="T10" fmla="*/ 2 w 83"/>
                <a:gd name="T11" fmla="*/ 0 h 60"/>
                <a:gd name="T12" fmla="*/ 0 w 83"/>
                <a:gd name="T13" fmla="*/ 2 h 60"/>
                <a:gd name="T14" fmla="*/ 0 60000 65536"/>
                <a:gd name="T15" fmla="*/ 0 60000 65536"/>
                <a:gd name="T16" fmla="*/ 0 60000 65536"/>
                <a:gd name="T17" fmla="*/ 0 60000 65536"/>
                <a:gd name="T18" fmla="*/ 0 60000 65536"/>
                <a:gd name="T19" fmla="*/ 0 60000 65536"/>
                <a:gd name="T20" fmla="*/ 0 60000 65536"/>
                <a:gd name="T21" fmla="*/ 0 w 83"/>
                <a:gd name="T22" fmla="*/ 0 h 60"/>
                <a:gd name="T23" fmla="*/ 83 w 83"/>
                <a:gd name="T24" fmla="*/ 60 h 6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3" h="60">
                  <a:moveTo>
                    <a:pt x="0" y="29"/>
                  </a:moveTo>
                  <a:lnTo>
                    <a:pt x="26" y="59"/>
                  </a:lnTo>
                  <a:lnTo>
                    <a:pt x="54" y="60"/>
                  </a:lnTo>
                  <a:lnTo>
                    <a:pt x="83" y="33"/>
                  </a:lnTo>
                  <a:lnTo>
                    <a:pt x="55" y="31"/>
                  </a:lnTo>
                  <a:lnTo>
                    <a:pt x="29" y="0"/>
                  </a:lnTo>
                  <a:lnTo>
                    <a:pt x="0" y="29"/>
                  </a:lnTo>
                </a:path>
              </a:pathLst>
            </a:custGeom>
            <a:solidFill>
              <a:srgbClr val="B2C2D1"/>
            </a:solidFill>
            <a:ln w="9525">
              <a:noFill/>
              <a:round/>
              <a:headEnd/>
              <a:tailEnd/>
            </a:ln>
          </p:spPr>
          <p:txBody>
            <a:bodyPr/>
            <a:lstStyle/>
            <a:p>
              <a:endParaRPr lang="el-GR"/>
            </a:p>
          </p:txBody>
        </p:sp>
        <p:sp>
          <p:nvSpPr>
            <p:cNvPr id="272" name="Freeform 149"/>
            <p:cNvSpPr>
              <a:spLocks/>
            </p:cNvSpPr>
            <p:nvPr/>
          </p:nvSpPr>
          <p:spPr bwMode="auto">
            <a:xfrm>
              <a:off x="3023" y="2640"/>
              <a:ext cx="12" cy="14"/>
            </a:xfrm>
            <a:custGeom>
              <a:avLst/>
              <a:gdLst>
                <a:gd name="T0" fmla="*/ 3 w 55"/>
                <a:gd name="T1" fmla="*/ 3 h 59"/>
                <a:gd name="T2" fmla="*/ 3 w 55"/>
                <a:gd name="T3" fmla="*/ 2 h 59"/>
                <a:gd name="T4" fmla="*/ 2 w 55"/>
                <a:gd name="T5" fmla="*/ 0 h 59"/>
                <a:gd name="T6" fmla="*/ 0 w 55"/>
                <a:gd name="T7" fmla="*/ 2 h 59"/>
                <a:gd name="T8" fmla="*/ 0 w 55"/>
                <a:gd name="T9" fmla="*/ 3 h 59"/>
                <a:gd name="T10" fmla="*/ 1 w 55"/>
                <a:gd name="T11" fmla="*/ 3 h 59"/>
                <a:gd name="T12" fmla="*/ 3 w 55"/>
                <a:gd name="T13" fmla="*/ 3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4" y="59"/>
                  </a:moveTo>
                  <a:lnTo>
                    <a:pt x="55" y="30"/>
                  </a:lnTo>
                  <a:lnTo>
                    <a:pt x="30" y="0"/>
                  </a:lnTo>
                  <a:lnTo>
                    <a:pt x="1" y="28"/>
                  </a:lnTo>
                  <a:lnTo>
                    <a:pt x="0" y="56"/>
                  </a:lnTo>
                  <a:lnTo>
                    <a:pt x="27" y="58"/>
                  </a:lnTo>
                  <a:lnTo>
                    <a:pt x="54" y="59"/>
                  </a:lnTo>
                  <a:close/>
                </a:path>
              </a:pathLst>
            </a:custGeom>
            <a:solidFill>
              <a:srgbClr val="B2C2D1"/>
            </a:solidFill>
            <a:ln w="9525">
              <a:noFill/>
              <a:round/>
              <a:headEnd/>
              <a:tailEnd/>
            </a:ln>
          </p:spPr>
          <p:txBody>
            <a:bodyPr/>
            <a:lstStyle/>
            <a:p>
              <a:endParaRPr lang="el-GR"/>
            </a:p>
          </p:txBody>
        </p:sp>
        <p:sp>
          <p:nvSpPr>
            <p:cNvPr id="273" name="Freeform 150"/>
            <p:cNvSpPr>
              <a:spLocks/>
            </p:cNvSpPr>
            <p:nvPr/>
          </p:nvSpPr>
          <p:spPr bwMode="auto">
            <a:xfrm>
              <a:off x="3023" y="2640"/>
              <a:ext cx="12" cy="14"/>
            </a:xfrm>
            <a:custGeom>
              <a:avLst/>
              <a:gdLst>
                <a:gd name="T0" fmla="*/ 3 w 55"/>
                <a:gd name="T1" fmla="*/ 3 h 59"/>
                <a:gd name="T2" fmla="*/ 3 w 55"/>
                <a:gd name="T3" fmla="*/ 2 h 59"/>
                <a:gd name="T4" fmla="*/ 2 w 55"/>
                <a:gd name="T5" fmla="*/ 0 h 59"/>
                <a:gd name="T6" fmla="*/ 0 w 55"/>
                <a:gd name="T7" fmla="*/ 2 h 59"/>
                <a:gd name="T8" fmla="*/ 0 w 55"/>
                <a:gd name="T9" fmla="*/ 3 h 59"/>
                <a:gd name="T10" fmla="*/ 1 w 55"/>
                <a:gd name="T11" fmla="*/ 3 h 59"/>
                <a:gd name="T12" fmla="*/ 3 w 55"/>
                <a:gd name="T13" fmla="*/ 3 h 59"/>
                <a:gd name="T14" fmla="*/ 0 60000 65536"/>
                <a:gd name="T15" fmla="*/ 0 60000 65536"/>
                <a:gd name="T16" fmla="*/ 0 60000 65536"/>
                <a:gd name="T17" fmla="*/ 0 60000 65536"/>
                <a:gd name="T18" fmla="*/ 0 60000 65536"/>
                <a:gd name="T19" fmla="*/ 0 60000 65536"/>
                <a:gd name="T20" fmla="*/ 0 60000 65536"/>
                <a:gd name="T21" fmla="*/ 0 w 55"/>
                <a:gd name="T22" fmla="*/ 0 h 59"/>
                <a:gd name="T23" fmla="*/ 55 w 55"/>
                <a:gd name="T24" fmla="*/ 59 h 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59">
                  <a:moveTo>
                    <a:pt x="54" y="59"/>
                  </a:moveTo>
                  <a:lnTo>
                    <a:pt x="55" y="30"/>
                  </a:lnTo>
                  <a:lnTo>
                    <a:pt x="30" y="0"/>
                  </a:lnTo>
                  <a:lnTo>
                    <a:pt x="1" y="28"/>
                  </a:lnTo>
                  <a:lnTo>
                    <a:pt x="0" y="56"/>
                  </a:lnTo>
                  <a:lnTo>
                    <a:pt x="27" y="58"/>
                  </a:lnTo>
                  <a:lnTo>
                    <a:pt x="54" y="59"/>
                  </a:lnTo>
                </a:path>
              </a:pathLst>
            </a:custGeom>
            <a:solidFill>
              <a:srgbClr val="B2C2D1"/>
            </a:solidFill>
            <a:ln w="9525">
              <a:noFill/>
              <a:round/>
              <a:headEnd/>
              <a:tailEnd/>
            </a:ln>
          </p:spPr>
          <p:txBody>
            <a:bodyPr/>
            <a:lstStyle/>
            <a:p>
              <a:endParaRPr lang="el-GR"/>
            </a:p>
          </p:txBody>
        </p:sp>
        <p:sp>
          <p:nvSpPr>
            <p:cNvPr id="274" name="Freeform 151"/>
            <p:cNvSpPr>
              <a:spLocks/>
            </p:cNvSpPr>
            <p:nvPr/>
          </p:nvSpPr>
          <p:spPr bwMode="auto">
            <a:xfrm>
              <a:off x="3390" y="2631"/>
              <a:ext cx="15" cy="15"/>
            </a:xfrm>
            <a:custGeom>
              <a:avLst/>
              <a:gdLst>
                <a:gd name="T0" fmla="*/ 2 w 61"/>
                <a:gd name="T1" fmla="*/ 2 h 62"/>
                <a:gd name="T2" fmla="*/ 4 w 61"/>
                <a:gd name="T3" fmla="*/ 2 h 62"/>
                <a:gd name="T4" fmla="*/ 4 w 61"/>
                <a:gd name="T5" fmla="*/ 4 h 62"/>
                <a:gd name="T6" fmla="*/ 2 w 61"/>
                <a:gd name="T7" fmla="*/ 3 h 62"/>
                <a:gd name="T8" fmla="*/ 0 w 61"/>
                <a:gd name="T9" fmla="*/ 3 h 62"/>
                <a:gd name="T10" fmla="*/ 0 w 61"/>
                <a:gd name="T11" fmla="*/ 2 h 62"/>
                <a:gd name="T12" fmla="*/ 0 w 61"/>
                <a:gd name="T13" fmla="*/ 0 h 62"/>
                <a:gd name="T14" fmla="*/ 2 w 61"/>
                <a:gd name="T15" fmla="*/ 0 h 62"/>
                <a:gd name="T16" fmla="*/ 2 w 61"/>
                <a:gd name="T17" fmla="*/ 2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62"/>
                <a:gd name="T29" fmla="*/ 61 w 61"/>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62">
                  <a:moveTo>
                    <a:pt x="32" y="30"/>
                  </a:moveTo>
                  <a:lnTo>
                    <a:pt x="61" y="32"/>
                  </a:lnTo>
                  <a:lnTo>
                    <a:pt x="59" y="62"/>
                  </a:lnTo>
                  <a:lnTo>
                    <a:pt x="29" y="59"/>
                  </a:lnTo>
                  <a:lnTo>
                    <a:pt x="0" y="58"/>
                  </a:lnTo>
                  <a:lnTo>
                    <a:pt x="2" y="29"/>
                  </a:lnTo>
                  <a:lnTo>
                    <a:pt x="3" y="0"/>
                  </a:lnTo>
                  <a:lnTo>
                    <a:pt x="33" y="2"/>
                  </a:lnTo>
                  <a:lnTo>
                    <a:pt x="32" y="30"/>
                  </a:lnTo>
                  <a:close/>
                </a:path>
              </a:pathLst>
            </a:custGeom>
            <a:solidFill>
              <a:srgbClr val="B2C2D1"/>
            </a:solidFill>
            <a:ln w="9525">
              <a:noFill/>
              <a:round/>
              <a:headEnd/>
              <a:tailEnd/>
            </a:ln>
          </p:spPr>
          <p:txBody>
            <a:bodyPr/>
            <a:lstStyle/>
            <a:p>
              <a:endParaRPr lang="el-GR"/>
            </a:p>
          </p:txBody>
        </p:sp>
        <p:sp>
          <p:nvSpPr>
            <p:cNvPr id="275" name="Freeform 152"/>
            <p:cNvSpPr>
              <a:spLocks/>
            </p:cNvSpPr>
            <p:nvPr/>
          </p:nvSpPr>
          <p:spPr bwMode="auto">
            <a:xfrm>
              <a:off x="3390" y="2631"/>
              <a:ext cx="15" cy="15"/>
            </a:xfrm>
            <a:custGeom>
              <a:avLst/>
              <a:gdLst>
                <a:gd name="T0" fmla="*/ 2 w 61"/>
                <a:gd name="T1" fmla="*/ 2 h 62"/>
                <a:gd name="T2" fmla="*/ 4 w 61"/>
                <a:gd name="T3" fmla="*/ 2 h 62"/>
                <a:gd name="T4" fmla="*/ 4 w 61"/>
                <a:gd name="T5" fmla="*/ 4 h 62"/>
                <a:gd name="T6" fmla="*/ 2 w 61"/>
                <a:gd name="T7" fmla="*/ 3 h 62"/>
                <a:gd name="T8" fmla="*/ 0 w 61"/>
                <a:gd name="T9" fmla="*/ 3 h 62"/>
                <a:gd name="T10" fmla="*/ 0 w 61"/>
                <a:gd name="T11" fmla="*/ 2 h 62"/>
                <a:gd name="T12" fmla="*/ 0 w 61"/>
                <a:gd name="T13" fmla="*/ 0 h 62"/>
                <a:gd name="T14" fmla="*/ 2 w 61"/>
                <a:gd name="T15" fmla="*/ 0 h 62"/>
                <a:gd name="T16" fmla="*/ 2 w 61"/>
                <a:gd name="T17" fmla="*/ 2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1"/>
                <a:gd name="T28" fmla="*/ 0 h 62"/>
                <a:gd name="T29" fmla="*/ 61 w 61"/>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1" h="62">
                  <a:moveTo>
                    <a:pt x="32" y="30"/>
                  </a:moveTo>
                  <a:lnTo>
                    <a:pt x="61" y="32"/>
                  </a:lnTo>
                  <a:lnTo>
                    <a:pt x="59" y="62"/>
                  </a:lnTo>
                  <a:lnTo>
                    <a:pt x="29" y="59"/>
                  </a:lnTo>
                  <a:lnTo>
                    <a:pt x="0" y="58"/>
                  </a:lnTo>
                  <a:lnTo>
                    <a:pt x="2" y="29"/>
                  </a:lnTo>
                  <a:lnTo>
                    <a:pt x="3" y="0"/>
                  </a:lnTo>
                  <a:lnTo>
                    <a:pt x="33" y="2"/>
                  </a:lnTo>
                  <a:lnTo>
                    <a:pt x="32" y="30"/>
                  </a:lnTo>
                </a:path>
              </a:pathLst>
            </a:custGeom>
            <a:solidFill>
              <a:srgbClr val="B2C2D1"/>
            </a:solidFill>
            <a:ln w="9525">
              <a:noFill/>
              <a:round/>
              <a:headEnd/>
              <a:tailEnd/>
            </a:ln>
          </p:spPr>
          <p:txBody>
            <a:bodyPr/>
            <a:lstStyle/>
            <a:p>
              <a:endParaRPr lang="el-GR"/>
            </a:p>
          </p:txBody>
        </p:sp>
        <p:sp>
          <p:nvSpPr>
            <p:cNvPr id="276" name="Freeform 153"/>
            <p:cNvSpPr>
              <a:spLocks/>
            </p:cNvSpPr>
            <p:nvPr/>
          </p:nvSpPr>
          <p:spPr bwMode="auto">
            <a:xfrm>
              <a:off x="3329" y="2789"/>
              <a:ext cx="8" cy="21"/>
            </a:xfrm>
            <a:custGeom>
              <a:avLst/>
              <a:gdLst>
                <a:gd name="T0" fmla="*/ 0 w 35"/>
                <a:gd name="T1" fmla="*/ 3 h 87"/>
                <a:gd name="T2" fmla="*/ 0 w 35"/>
                <a:gd name="T3" fmla="*/ 5 h 87"/>
                <a:gd name="T4" fmla="*/ 2 w 35"/>
                <a:gd name="T5" fmla="*/ 5 h 87"/>
                <a:gd name="T6" fmla="*/ 2 w 35"/>
                <a:gd name="T7" fmla="*/ 3 h 87"/>
                <a:gd name="T8" fmla="*/ 2 w 35"/>
                <a:gd name="T9" fmla="*/ 2 h 87"/>
                <a:gd name="T10" fmla="*/ 2 w 35"/>
                <a:gd name="T11" fmla="*/ 0 h 87"/>
                <a:gd name="T12" fmla="*/ 0 w 35"/>
                <a:gd name="T13" fmla="*/ 3 h 87"/>
                <a:gd name="T14" fmla="*/ 0 60000 65536"/>
                <a:gd name="T15" fmla="*/ 0 60000 65536"/>
                <a:gd name="T16" fmla="*/ 0 60000 65536"/>
                <a:gd name="T17" fmla="*/ 0 60000 65536"/>
                <a:gd name="T18" fmla="*/ 0 60000 65536"/>
                <a:gd name="T19" fmla="*/ 0 60000 65536"/>
                <a:gd name="T20" fmla="*/ 0 60000 65536"/>
                <a:gd name="T21" fmla="*/ 0 w 35"/>
                <a:gd name="T22" fmla="*/ 0 h 87"/>
                <a:gd name="T23" fmla="*/ 35 w 35"/>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7">
                  <a:moveTo>
                    <a:pt x="2" y="56"/>
                  </a:moveTo>
                  <a:lnTo>
                    <a:pt x="0" y="85"/>
                  </a:lnTo>
                  <a:lnTo>
                    <a:pt x="30" y="87"/>
                  </a:lnTo>
                  <a:lnTo>
                    <a:pt x="32" y="58"/>
                  </a:lnTo>
                  <a:lnTo>
                    <a:pt x="33" y="28"/>
                  </a:lnTo>
                  <a:lnTo>
                    <a:pt x="35" y="0"/>
                  </a:lnTo>
                  <a:lnTo>
                    <a:pt x="2" y="56"/>
                  </a:lnTo>
                  <a:close/>
                </a:path>
              </a:pathLst>
            </a:custGeom>
            <a:solidFill>
              <a:srgbClr val="B2C2D1"/>
            </a:solidFill>
            <a:ln w="9525">
              <a:noFill/>
              <a:round/>
              <a:headEnd/>
              <a:tailEnd/>
            </a:ln>
          </p:spPr>
          <p:txBody>
            <a:bodyPr/>
            <a:lstStyle/>
            <a:p>
              <a:endParaRPr lang="el-GR"/>
            </a:p>
          </p:txBody>
        </p:sp>
        <p:sp>
          <p:nvSpPr>
            <p:cNvPr id="277" name="Freeform 154"/>
            <p:cNvSpPr>
              <a:spLocks/>
            </p:cNvSpPr>
            <p:nvPr/>
          </p:nvSpPr>
          <p:spPr bwMode="auto">
            <a:xfrm>
              <a:off x="3329" y="2789"/>
              <a:ext cx="8" cy="21"/>
            </a:xfrm>
            <a:custGeom>
              <a:avLst/>
              <a:gdLst>
                <a:gd name="T0" fmla="*/ 0 w 35"/>
                <a:gd name="T1" fmla="*/ 3 h 87"/>
                <a:gd name="T2" fmla="*/ 0 w 35"/>
                <a:gd name="T3" fmla="*/ 5 h 87"/>
                <a:gd name="T4" fmla="*/ 2 w 35"/>
                <a:gd name="T5" fmla="*/ 5 h 87"/>
                <a:gd name="T6" fmla="*/ 2 w 35"/>
                <a:gd name="T7" fmla="*/ 3 h 87"/>
                <a:gd name="T8" fmla="*/ 2 w 35"/>
                <a:gd name="T9" fmla="*/ 2 h 87"/>
                <a:gd name="T10" fmla="*/ 2 w 35"/>
                <a:gd name="T11" fmla="*/ 0 h 87"/>
                <a:gd name="T12" fmla="*/ 0 w 35"/>
                <a:gd name="T13" fmla="*/ 3 h 87"/>
                <a:gd name="T14" fmla="*/ 0 60000 65536"/>
                <a:gd name="T15" fmla="*/ 0 60000 65536"/>
                <a:gd name="T16" fmla="*/ 0 60000 65536"/>
                <a:gd name="T17" fmla="*/ 0 60000 65536"/>
                <a:gd name="T18" fmla="*/ 0 60000 65536"/>
                <a:gd name="T19" fmla="*/ 0 60000 65536"/>
                <a:gd name="T20" fmla="*/ 0 60000 65536"/>
                <a:gd name="T21" fmla="*/ 0 w 35"/>
                <a:gd name="T22" fmla="*/ 0 h 87"/>
                <a:gd name="T23" fmla="*/ 35 w 35"/>
                <a:gd name="T24" fmla="*/ 87 h 8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87">
                  <a:moveTo>
                    <a:pt x="2" y="56"/>
                  </a:moveTo>
                  <a:lnTo>
                    <a:pt x="0" y="85"/>
                  </a:lnTo>
                  <a:lnTo>
                    <a:pt x="30" y="87"/>
                  </a:lnTo>
                  <a:lnTo>
                    <a:pt x="32" y="58"/>
                  </a:lnTo>
                  <a:lnTo>
                    <a:pt x="33" y="28"/>
                  </a:lnTo>
                  <a:lnTo>
                    <a:pt x="35" y="0"/>
                  </a:lnTo>
                  <a:lnTo>
                    <a:pt x="2" y="56"/>
                  </a:lnTo>
                </a:path>
              </a:pathLst>
            </a:custGeom>
            <a:solidFill>
              <a:srgbClr val="B2C2D1"/>
            </a:solidFill>
            <a:ln w="9525">
              <a:noFill/>
              <a:round/>
              <a:headEnd/>
              <a:tailEnd/>
            </a:ln>
          </p:spPr>
          <p:txBody>
            <a:bodyPr/>
            <a:lstStyle/>
            <a:p>
              <a:endParaRPr lang="el-GR"/>
            </a:p>
          </p:txBody>
        </p:sp>
        <p:sp>
          <p:nvSpPr>
            <p:cNvPr id="278" name="Freeform 155"/>
            <p:cNvSpPr>
              <a:spLocks/>
            </p:cNvSpPr>
            <p:nvPr/>
          </p:nvSpPr>
          <p:spPr bwMode="auto">
            <a:xfrm>
              <a:off x="1976" y="2142"/>
              <a:ext cx="105" cy="114"/>
            </a:xfrm>
            <a:custGeom>
              <a:avLst/>
              <a:gdLst>
                <a:gd name="T0" fmla="*/ 6 w 441"/>
                <a:gd name="T1" fmla="*/ 18 h 477"/>
                <a:gd name="T2" fmla="*/ 7 w 441"/>
                <a:gd name="T3" fmla="*/ 20 h 477"/>
                <a:gd name="T4" fmla="*/ 9 w 441"/>
                <a:gd name="T5" fmla="*/ 22 h 477"/>
                <a:gd name="T6" fmla="*/ 9 w 441"/>
                <a:gd name="T7" fmla="*/ 24 h 477"/>
                <a:gd name="T8" fmla="*/ 12 w 441"/>
                <a:gd name="T9" fmla="*/ 25 h 477"/>
                <a:gd name="T10" fmla="*/ 12 w 441"/>
                <a:gd name="T11" fmla="*/ 27 h 477"/>
                <a:gd name="T12" fmla="*/ 14 w 441"/>
                <a:gd name="T13" fmla="*/ 27 h 477"/>
                <a:gd name="T14" fmla="*/ 15 w 441"/>
                <a:gd name="T15" fmla="*/ 27 h 477"/>
                <a:gd name="T16" fmla="*/ 15 w 441"/>
                <a:gd name="T17" fmla="*/ 26 h 477"/>
                <a:gd name="T18" fmla="*/ 14 w 441"/>
                <a:gd name="T19" fmla="*/ 24 h 477"/>
                <a:gd name="T20" fmla="*/ 17 w 441"/>
                <a:gd name="T21" fmla="*/ 21 h 477"/>
                <a:gd name="T22" fmla="*/ 20 w 441"/>
                <a:gd name="T23" fmla="*/ 19 h 477"/>
                <a:gd name="T24" fmla="*/ 25 w 441"/>
                <a:gd name="T25" fmla="*/ 23 h 477"/>
                <a:gd name="T26" fmla="*/ 25 w 441"/>
                <a:gd name="T27" fmla="*/ 21 h 477"/>
                <a:gd name="T28" fmla="*/ 25 w 441"/>
                <a:gd name="T29" fmla="*/ 19 h 477"/>
                <a:gd name="T30" fmla="*/ 20 w 441"/>
                <a:gd name="T31" fmla="*/ 16 h 477"/>
                <a:gd name="T32" fmla="*/ 20 w 441"/>
                <a:gd name="T33" fmla="*/ 14 h 477"/>
                <a:gd name="T34" fmla="*/ 19 w 441"/>
                <a:gd name="T35" fmla="*/ 12 h 477"/>
                <a:gd name="T36" fmla="*/ 16 w 441"/>
                <a:gd name="T37" fmla="*/ 11 h 477"/>
                <a:gd name="T38" fmla="*/ 11 w 441"/>
                <a:gd name="T39" fmla="*/ 9 h 477"/>
                <a:gd name="T40" fmla="*/ 10 w 441"/>
                <a:gd name="T41" fmla="*/ 9 h 477"/>
                <a:gd name="T42" fmla="*/ 7 w 441"/>
                <a:gd name="T43" fmla="*/ 3 h 477"/>
                <a:gd name="T44" fmla="*/ 7 w 441"/>
                <a:gd name="T45" fmla="*/ 2 h 477"/>
                <a:gd name="T46" fmla="*/ 7 w 441"/>
                <a:gd name="T47" fmla="*/ 0 h 477"/>
                <a:gd name="T48" fmla="*/ 4 w 441"/>
                <a:gd name="T49" fmla="*/ 3 h 477"/>
                <a:gd name="T50" fmla="*/ 0 w 441"/>
                <a:gd name="T51" fmla="*/ 6 h 477"/>
                <a:gd name="T52" fmla="*/ 0 w 441"/>
                <a:gd name="T53" fmla="*/ 11 h 477"/>
                <a:gd name="T54" fmla="*/ 1 w 441"/>
                <a:gd name="T55" fmla="*/ 13 h 477"/>
                <a:gd name="T56" fmla="*/ 3 w 441"/>
                <a:gd name="T57" fmla="*/ 15 h 477"/>
                <a:gd name="T58" fmla="*/ 6 w 441"/>
                <a:gd name="T59" fmla="*/ 18 h 4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1"/>
                <a:gd name="T91" fmla="*/ 0 h 477"/>
                <a:gd name="T92" fmla="*/ 441 w 441"/>
                <a:gd name="T93" fmla="*/ 477 h 47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1" h="477">
                  <a:moveTo>
                    <a:pt x="106" y="322"/>
                  </a:moveTo>
                  <a:lnTo>
                    <a:pt x="132" y="352"/>
                  </a:lnTo>
                  <a:lnTo>
                    <a:pt x="159" y="384"/>
                  </a:lnTo>
                  <a:lnTo>
                    <a:pt x="157" y="414"/>
                  </a:lnTo>
                  <a:lnTo>
                    <a:pt x="211" y="445"/>
                  </a:lnTo>
                  <a:lnTo>
                    <a:pt x="210" y="475"/>
                  </a:lnTo>
                  <a:lnTo>
                    <a:pt x="238" y="476"/>
                  </a:lnTo>
                  <a:lnTo>
                    <a:pt x="266" y="477"/>
                  </a:lnTo>
                  <a:lnTo>
                    <a:pt x="267" y="449"/>
                  </a:lnTo>
                  <a:lnTo>
                    <a:pt x="241" y="417"/>
                  </a:lnTo>
                  <a:lnTo>
                    <a:pt x="300" y="362"/>
                  </a:lnTo>
                  <a:lnTo>
                    <a:pt x="357" y="336"/>
                  </a:lnTo>
                  <a:lnTo>
                    <a:pt x="438" y="399"/>
                  </a:lnTo>
                  <a:lnTo>
                    <a:pt x="440" y="369"/>
                  </a:lnTo>
                  <a:lnTo>
                    <a:pt x="441" y="340"/>
                  </a:lnTo>
                  <a:lnTo>
                    <a:pt x="360" y="278"/>
                  </a:lnTo>
                  <a:lnTo>
                    <a:pt x="362" y="247"/>
                  </a:lnTo>
                  <a:lnTo>
                    <a:pt x="336" y="217"/>
                  </a:lnTo>
                  <a:lnTo>
                    <a:pt x="281" y="185"/>
                  </a:lnTo>
                  <a:lnTo>
                    <a:pt x="199" y="151"/>
                  </a:lnTo>
                  <a:lnTo>
                    <a:pt x="171" y="150"/>
                  </a:lnTo>
                  <a:lnTo>
                    <a:pt x="120" y="59"/>
                  </a:lnTo>
                  <a:lnTo>
                    <a:pt x="121" y="31"/>
                  </a:lnTo>
                  <a:lnTo>
                    <a:pt x="122" y="0"/>
                  </a:lnTo>
                  <a:lnTo>
                    <a:pt x="63" y="57"/>
                  </a:lnTo>
                  <a:lnTo>
                    <a:pt x="4" y="112"/>
                  </a:lnTo>
                  <a:lnTo>
                    <a:pt x="0" y="200"/>
                  </a:lnTo>
                  <a:lnTo>
                    <a:pt x="27" y="230"/>
                  </a:lnTo>
                  <a:lnTo>
                    <a:pt x="53" y="261"/>
                  </a:lnTo>
                  <a:lnTo>
                    <a:pt x="106" y="322"/>
                  </a:lnTo>
                  <a:close/>
                </a:path>
              </a:pathLst>
            </a:custGeom>
            <a:solidFill>
              <a:srgbClr val="B2C2D1"/>
            </a:solidFill>
            <a:ln w="9525">
              <a:noFill/>
              <a:round/>
              <a:headEnd/>
              <a:tailEnd/>
            </a:ln>
          </p:spPr>
          <p:txBody>
            <a:bodyPr/>
            <a:lstStyle/>
            <a:p>
              <a:endParaRPr lang="el-GR"/>
            </a:p>
          </p:txBody>
        </p:sp>
        <p:sp>
          <p:nvSpPr>
            <p:cNvPr id="279" name="Freeform 156"/>
            <p:cNvSpPr>
              <a:spLocks/>
            </p:cNvSpPr>
            <p:nvPr/>
          </p:nvSpPr>
          <p:spPr bwMode="auto">
            <a:xfrm>
              <a:off x="1976" y="2142"/>
              <a:ext cx="105" cy="114"/>
            </a:xfrm>
            <a:custGeom>
              <a:avLst/>
              <a:gdLst>
                <a:gd name="T0" fmla="*/ 6 w 441"/>
                <a:gd name="T1" fmla="*/ 18 h 477"/>
                <a:gd name="T2" fmla="*/ 7 w 441"/>
                <a:gd name="T3" fmla="*/ 20 h 477"/>
                <a:gd name="T4" fmla="*/ 9 w 441"/>
                <a:gd name="T5" fmla="*/ 22 h 477"/>
                <a:gd name="T6" fmla="*/ 9 w 441"/>
                <a:gd name="T7" fmla="*/ 24 h 477"/>
                <a:gd name="T8" fmla="*/ 12 w 441"/>
                <a:gd name="T9" fmla="*/ 25 h 477"/>
                <a:gd name="T10" fmla="*/ 12 w 441"/>
                <a:gd name="T11" fmla="*/ 27 h 477"/>
                <a:gd name="T12" fmla="*/ 14 w 441"/>
                <a:gd name="T13" fmla="*/ 27 h 477"/>
                <a:gd name="T14" fmla="*/ 15 w 441"/>
                <a:gd name="T15" fmla="*/ 27 h 477"/>
                <a:gd name="T16" fmla="*/ 15 w 441"/>
                <a:gd name="T17" fmla="*/ 26 h 477"/>
                <a:gd name="T18" fmla="*/ 14 w 441"/>
                <a:gd name="T19" fmla="*/ 24 h 477"/>
                <a:gd name="T20" fmla="*/ 17 w 441"/>
                <a:gd name="T21" fmla="*/ 21 h 477"/>
                <a:gd name="T22" fmla="*/ 20 w 441"/>
                <a:gd name="T23" fmla="*/ 19 h 477"/>
                <a:gd name="T24" fmla="*/ 25 w 441"/>
                <a:gd name="T25" fmla="*/ 23 h 477"/>
                <a:gd name="T26" fmla="*/ 25 w 441"/>
                <a:gd name="T27" fmla="*/ 21 h 477"/>
                <a:gd name="T28" fmla="*/ 25 w 441"/>
                <a:gd name="T29" fmla="*/ 19 h 477"/>
                <a:gd name="T30" fmla="*/ 20 w 441"/>
                <a:gd name="T31" fmla="*/ 16 h 477"/>
                <a:gd name="T32" fmla="*/ 20 w 441"/>
                <a:gd name="T33" fmla="*/ 14 h 477"/>
                <a:gd name="T34" fmla="*/ 19 w 441"/>
                <a:gd name="T35" fmla="*/ 12 h 477"/>
                <a:gd name="T36" fmla="*/ 16 w 441"/>
                <a:gd name="T37" fmla="*/ 11 h 477"/>
                <a:gd name="T38" fmla="*/ 11 w 441"/>
                <a:gd name="T39" fmla="*/ 9 h 477"/>
                <a:gd name="T40" fmla="*/ 10 w 441"/>
                <a:gd name="T41" fmla="*/ 9 h 477"/>
                <a:gd name="T42" fmla="*/ 7 w 441"/>
                <a:gd name="T43" fmla="*/ 3 h 477"/>
                <a:gd name="T44" fmla="*/ 7 w 441"/>
                <a:gd name="T45" fmla="*/ 2 h 477"/>
                <a:gd name="T46" fmla="*/ 7 w 441"/>
                <a:gd name="T47" fmla="*/ 0 h 477"/>
                <a:gd name="T48" fmla="*/ 4 w 441"/>
                <a:gd name="T49" fmla="*/ 3 h 477"/>
                <a:gd name="T50" fmla="*/ 0 w 441"/>
                <a:gd name="T51" fmla="*/ 6 h 477"/>
                <a:gd name="T52" fmla="*/ 0 w 441"/>
                <a:gd name="T53" fmla="*/ 11 h 477"/>
                <a:gd name="T54" fmla="*/ 1 w 441"/>
                <a:gd name="T55" fmla="*/ 13 h 477"/>
                <a:gd name="T56" fmla="*/ 3 w 441"/>
                <a:gd name="T57" fmla="*/ 15 h 477"/>
                <a:gd name="T58" fmla="*/ 6 w 441"/>
                <a:gd name="T59" fmla="*/ 18 h 47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1"/>
                <a:gd name="T91" fmla="*/ 0 h 477"/>
                <a:gd name="T92" fmla="*/ 441 w 441"/>
                <a:gd name="T93" fmla="*/ 477 h 47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1" h="477">
                  <a:moveTo>
                    <a:pt x="106" y="322"/>
                  </a:moveTo>
                  <a:lnTo>
                    <a:pt x="132" y="352"/>
                  </a:lnTo>
                  <a:lnTo>
                    <a:pt x="159" y="384"/>
                  </a:lnTo>
                  <a:lnTo>
                    <a:pt x="157" y="414"/>
                  </a:lnTo>
                  <a:lnTo>
                    <a:pt x="211" y="445"/>
                  </a:lnTo>
                  <a:lnTo>
                    <a:pt x="210" y="475"/>
                  </a:lnTo>
                  <a:lnTo>
                    <a:pt x="238" y="476"/>
                  </a:lnTo>
                  <a:lnTo>
                    <a:pt x="266" y="477"/>
                  </a:lnTo>
                  <a:lnTo>
                    <a:pt x="267" y="449"/>
                  </a:lnTo>
                  <a:lnTo>
                    <a:pt x="241" y="417"/>
                  </a:lnTo>
                  <a:lnTo>
                    <a:pt x="300" y="362"/>
                  </a:lnTo>
                  <a:lnTo>
                    <a:pt x="357" y="336"/>
                  </a:lnTo>
                  <a:lnTo>
                    <a:pt x="438" y="399"/>
                  </a:lnTo>
                  <a:lnTo>
                    <a:pt x="440" y="369"/>
                  </a:lnTo>
                  <a:lnTo>
                    <a:pt x="441" y="340"/>
                  </a:lnTo>
                  <a:lnTo>
                    <a:pt x="360" y="278"/>
                  </a:lnTo>
                  <a:lnTo>
                    <a:pt x="362" y="247"/>
                  </a:lnTo>
                  <a:lnTo>
                    <a:pt x="336" y="217"/>
                  </a:lnTo>
                  <a:lnTo>
                    <a:pt x="281" y="185"/>
                  </a:lnTo>
                  <a:lnTo>
                    <a:pt x="199" y="151"/>
                  </a:lnTo>
                  <a:lnTo>
                    <a:pt x="171" y="150"/>
                  </a:lnTo>
                  <a:lnTo>
                    <a:pt x="120" y="59"/>
                  </a:lnTo>
                  <a:lnTo>
                    <a:pt x="121" y="31"/>
                  </a:lnTo>
                  <a:lnTo>
                    <a:pt x="122" y="0"/>
                  </a:lnTo>
                  <a:lnTo>
                    <a:pt x="63" y="57"/>
                  </a:lnTo>
                  <a:lnTo>
                    <a:pt x="4" y="112"/>
                  </a:lnTo>
                  <a:lnTo>
                    <a:pt x="0" y="200"/>
                  </a:lnTo>
                  <a:lnTo>
                    <a:pt x="27" y="230"/>
                  </a:lnTo>
                  <a:lnTo>
                    <a:pt x="53" y="261"/>
                  </a:lnTo>
                  <a:lnTo>
                    <a:pt x="106" y="322"/>
                  </a:lnTo>
                </a:path>
              </a:pathLst>
            </a:custGeom>
            <a:solidFill>
              <a:srgbClr val="B2C2D1"/>
            </a:solidFill>
            <a:ln w="9525">
              <a:noFill/>
              <a:round/>
              <a:headEnd/>
              <a:tailEnd/>
            </a:ln>
          </p:spPr>
          <p:txBody>
            <a:bodyPr/>
            <a:lstStyle/>
            <a:p>
              <a:endParaRPr lang="el-GR"/>
            </a:p>
          </p:txBody>
        </p:sp>
        <p:sp>
          <p:nvSpPr>
            <p:cNvPr id="280" name="Freeform 157"/>
            <p:cNvSpPr>
              <a:spLocks/>
            </p:cNvSpPr>
            <p:nvPr/>
          </p:nvSpPr>
          <p:spPr bwMode="auto">
            <a:xfrm>
              <a:off x="1936" y="1954"/>
              <a:ext cx="133" cy="162"/>
            </a:xfrm>
            <a:custGeom>
              <a:avLst/>
              <a:gdLst>
                <a:gd name="T0" fmla="*/ 7 w 554"/>
                <a:gd name="T1" fmla="*/ 19 h 685"/>
                <a:gd name="T2" fmla="*/ 9 w 554"/>
                <a:gd name="T3" fmla="*/ 18 h 685"/>
                <a:gd name="T4" fmla="*/ 10 w 554"/>
                <a:gd name="T5" fmla="*/ 26 h 685"/>
                <a:gd name="T6" fmla="*/ 8 w 554"/>
                <a:gd name="T7" fmla="*/ 24 h 685"/>
                <a:gd name="T8" fmla="*/ 9 w 554"/>
                <a:gd name="T9" fmla="*/ 31 h 685"/>
                <a:gd name="T10" fmla="*/ 11 w 554"/>
                <a:gd name="T11" fmla="*/ 33 h 685"/>
                <a:gd name="T12" fmla="*/ 14 w 554"/>
                <a:gd name="T13" fmla="*/ 34 h 685"/>
                <a:gd name="T14" fmla="*/ 18 w 554"/>
                <a:gd name="T15" fmla="*/ 31 h 685"/>
                <a:gd name="T16" fmla="*/ 22 w 554"/>
                <a:gd name="T17" fmla="*/ 35 h 685"/>
                <a:gd name="T18" fmla="*/ 24 w 554"/>
                <a:gd name="T19" fmla="*/ 36 h 685"/>
                <a:gd name="T20" fmla="*/ 29 w 554"/>
                <a:gd name="T21" fmla="*/ 37 h 685"/>
                <a:gd name="T22" fmla="*/ 29 w 554"/>
                <a:gd name="T23" fmla="*/ 38 h 685"/>
                <a:gd name="T24" fmla="*/ 30 w 554"/>
                <a:gd name="T25" fmla="*/ 37 h 685"/>
                <a:gd name="T26" fmla="*/ 30 w 554"/>
                <a:gd name="T27" fmla="*/ 35 h 685"/>
                <a:gd name="T28" fmla="*/ 32 w 554"/>
                <a:gd name="T29" fmla="*/ 34 h 685"/>
                <a:gd name="T30" fmla="*/ 29 w 554"/>
                <a:gd name="T31" fmla="*/ 30 h 685"/>
                <a:gd name="T32" fmla="*/ 29 w 554"/>
                <a:gd name="T33" fmla="*/ 29 h 685"/>
                <a:gd name="T34" fmla="*/ 29 w 554"/>
                <a:gd name="T35" fmla="*/ 27 h 685"/>
                <a:gd name="T36" fmla="*/ 24 w 554"/>
                <a:gd name="T37" fmla="*/ 22 h 685"/>
                <a:gd name="T38" fmla="*/ 25 w 554"/>
                <a:gd name="T39" fmla="*/ 20 h 685"/>
                <a:gd name="T40" fmla="*/ 23 w 554"/>
                <a:gd name="T41" fmla="*/ 20 h 685"/>
                <a:gd name="T42" fmla="*/ 23 w 554"/>
                <a:gd name="T43" fmla="*/ 17 h 685"/>
                <a:gd name="T44" fmla="*/ 21 w 554"/>
                <a:gd name="T45" fmla="*/ 20 h 685"/>
                <a:gd name="T46" fmla="*/ 20 w 554"/>
                <a:gd name="T47" fmla="*/ 20 h 685"/>
                <a:gd name="T48" fmla="*/ 18 w 554"/>
                <a:gd name="T49" fmla="*/ 17 h 685"/>
                <a:gd name="T50" fmla="*/ 20 w 554"/>
                <a:gd name="T51" fmla="*/ 13 h 685"/>
                <a:gd name="T52" fmla="*/ 19 w 554"/>
                <a:gd name="T53" fmla="*/ 7 h 685"/>
                <a:gd name="T54" fmla="*/ 18 w 554"/>
                <a:gd name="T55" fmla="*/ 3 h 685"/>
                <a:gd name="T56" fmla="*/ 18 w 554"/>
                <a:gd name="T57" fmla="*/ 2 h 685"/>
                <a:gd name="T58" fmla="*/ 16 w 554"/>
                <a:gd name="T59" fmla="*/ 0 h 685"/>
                <a:gd name="T60" fmla="*/ 14 w 554"/>
                <a:gd name="T61" fmla="*/ 1 h 685"/>
                <a:gd name="T62" fmla="*/ 14 w 554"/>
                <a:gd name="T63" fmla="*/ 3 h 685"/>
                <a:gd name="T64" fmla="*/ 14 w 554"/>
                <a:gd name="T65" fmla="*/ 5 h 685"/>
                <a:gd name="T66" fmla="*/ 14 w 554"/>
                <a:gd name="T67" fmla="*/ 11 h 685"/>
                <a:gd name="T68" fmla="*/ 10 w 554"/>
                <a:gd name="T69" fmla="*/ 14 h 685"/>
                <a:gd name="T70" fmla="*/ 9 w 554"/>
                <a:gd name="T71" fmla="*/ 13 h 685"/>
                <a:gd name="T72" fmla="*/ 9 w 554"/>
                <a:gd name="T73" fmla="*/ 14 h 685"/>
                <a:gd name="T74" fmla="*/ 7 w 554"/>
                <a:gd name="T75" fmla="*/ 9 h 685"/>
                <a:gd name="T76" fmla="*/ 6 w 554"/>
                <a:gd name="T77" fmla="*/ 13 h 685"/>
                <a:gd name="T78" fmla="*/ 4 w 554"/>
                <a:gd name="T79" fmla="*/ 9 h 685"/>
                <a:gd name="T80" fmla="*/ 4 w 554"/>
                <a:gd name="T81" fmla="*/ 13 h 685"/>
                <a:gd name="T82" fmla="*/ 2 w 554"/>
                <a:gd name="T83" fmla="*/ 19 h 685"/>
                <a:gd name="T84" fmla="*/ 0 w 554"/>
                <a:gd name="T85" fmla="*/ 21 h 685"/>
                <a:gd name="T86" fmla="*/ 2 w 554"/>
                <a:gd name="T87" fmla="*/ 22 h 685"/>
                <a:gd name="T88" fmla="*/ 0 w 554"/>
                <a:gd name="T89" fmla="*/ 26 h 685"/>
                <a:gd name="T90" fmla="*/ 1 w 554"/>
                <a:gd name="T91" fmla="*/ 27 h 685"/>
                <a:gd name="T92" fmla="*/ 1 w 554"/>
                <a:gd name="T93" fmla="*/ 29 h 685"/>
                <a:gd name="T94" fmla="*/ 6 w 554"/>
                <a:gd name="T95" fmla="*/ 27 h 685"/>
                <a:gd name="T96" fmla="*/ 6 w 554"/>
                <a:gd name="T97" fmla="*/ 22 h 685"/>
                <a:gd name="T98" fmla="*/ 7 w 554"/>
                <a:gd name="T99" fmla="*/ 19 h 6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4"/>
                <a:gd name="T151" fmla="*/ 0 h 685"/>
                <a:gd name="T152" fmla="*/ 554 w 554"/>
                <a:gd name="T153" fmla="*/ 685 h 6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4" h="685">
                  <a:moveTo>
                    <a:pt x="118" y="344"/>
                  </a:moveTo>
                  <a:lnTo>
                    <a:pt x="148" y="316"/>
                  </a:lnTo>
                  <a:lnTo>
                    <a:pt x="168" y="464"/>
                  </a:lnTo>
                  <a:lnTo>
                    <a:pt x="142" y="432"/>
                  </a:lnTo>
                  <a:lnTo>
                    <a:pt x="163" y="551"/>
                  </a:lnTo>
                  <a:lnTo>
                    <a:pt x="190" y="582"/>
                  </a:lnTo>
                  <a:lnTo>
                    <a:pt x="244" y="614"/>
                  </a:lnTo>
                  <a:lnTo>
                    <a:pt x="304" y="559"/>
                  </a:lnTo>
                  <a:lnTo>
                    <a:pt x="385" y="622"/>
                  </a:lnTo>
                  <a:lnTo>
                    <a:pt x="411" y="652"/>
                  </a:lnTo>
                  <a:lnTo>
                    <a:pt x="496" y="656"/>
                  </a:lnTo>
                  <a:lnTo>
                    <a:pt x="495" y="685"/>
                  </a:lnTo>
                  <a:lnTo>
                    <a:pt x="524" y="657"/>
                  </a:lnTo>
                  <a:lnTo>
                    <a:pt x="525" y="628"/>
                  </a:lnTo>
                  <a:lnTo>
                    <a:pt x="554" y="601"/>
                  </a:lnTo>
                  <a:lnTo>
                    <a:pt x="501" y="539"/>
                  </a:lnTo>
                  <a:lnTo>
                    <a:pt x="503" y="510"/>
                  </a:lnTo>
                  <a:lnTo>
                    <a:pt x="504" y="481"/>
                  </a:lnTo>
                  <a:lnTo>
                    <a:pt x="425" y="389"/>
                  </a:lnTo>
                  <a:lnTo>
                    <a:pt x="427" y="360"/>
                  </a:lnTo>
                  <a:lnTo>
                    <a:pt x="399" y="357"/>
                  </a:lnTo>
                  <a:lnTo>
                    <a:pt x="401" y="299"/>
                  </a:lnTo>
                  <a:lnTo>
                    <a:pt x="371" y="357"/>
                  </a:lnTo>
                  <a:lnTo>
                    <a:pt x="343" y="355"/>
                  </a:lnTo>
                  <a:lnTo>
                    <a:pt x="318" y="296"/>
                  </a:lnTo>
                  <a:lnTo>
                    <a:pt x="348" y="238"/>
                  </a:lnTo>
                  <a:lnTo>
                    <a:pt x="327" y="120"/>
                  </a:lnTo>
                  <a:lnTo>
                    <a:pt x="302" y="61"/>
                  </a:lnTo>
                  <a:lnTo>
                    <a:pt x="304" y="31"/>
                  </a:lnTo>
                  <a:lnTo>
                    <a:pt x="278" y="0"/>
                  </a:lnTo>
                  <a:lnTo>
                    <a:pt x="248" y="27"/>
                  </a:lnTo>
                  <a:lnTo>
                    <a:pt x="247" y="58"/>
                  </a:lnTo>
                  <a:lnTo>
                    <a:pt x="244" y="87"/>
                  </a:lnTo>
                  <a:lnTo>
                    <a:pt x="238" y="204"/>
                  </a:lnTo>
                  <a:lnTo>
                    <a:pt x="179" y="259"/>
                  </a:lnTo>
                  <a:lnTo>
                    <a:pt x="152" y="228"/>
                  </a:lnTo>
                  <a:lnTo>
                    <a:pt x="151" y="258"/>
                  </a:lnTo>
                  <a:lnTo>
                    <a:pt x="127" y="168"/>
                  </a:lnTo>
                  <a:lnTo>
                    <a:pt x="97" y="225"/>
                  </a:lnTo>
                  <a:lnTo>
                    <a:pt x="72" y="165"/>
                  </a:lnTo>
                  <a:lnTo>
                    <a:pt x="69" y="223"/>
                  </a:lnTo>
                  <a:lnTo>
                    <a:pt x="33" y="339"/>
                  </a:lnTo>
                  <a:lnTo>
                    <a:pt x="4" y="367"/>
                  </a:lnTo>
                  <a:lnTo>
                    <a:pt x="31" y="397"/>
                  </a:lnTo>
                  <a:lnTo>
                    <a:pt x="0" y="455"/>
                  </a:lnTo>
                  <a:lnTo>
                    <a:pt x="27" y="485"/>
                  </a:lnTo>
                  <a:lnTo>
                    <a:pt x="25" y="514"/>
                  </a:lnTo>
                  <a:lnTo>
                    <a:pt x="111" y="490"/>
                  </a:lnTo>
                  <a:lnTo>
                    <a:pt x="114" y="402"/>
                  </a:lnTo>
                  <a:lnTo>
                    <a:pt x="118" y="344"/>
                  </a:lnTo>
                  <a:close/>
                </a:path>
              </a:pathLst>
            </a:custGeom>
            <a:solidFill>
              <a:srgbClr val="B2C2D1"/>
            </a:solidFill>
            <a:ln w="9525">
              <a:noFill/>
              <a:round/>
              <a:headEnd/>
              <a:tailEnd/>
            </a:ln>
          </p:spPr>
          <p:txBody>
            <a:bodyPr/>
            <a:lstStyle/>
            <a:p>
              <a:endParaRPr lang="el-GR"/>
            </a:p>
          </p:txBody>
        </p:sp>
        <p:sp>
          <p:nvSpPr>
            <p:cNvPr id="281" name="Freeform 158"/>
            <p:cNvSpPr>
              <a:spLocks/>
            </p:cNvSpPr>
            <p:nvPr/>
          </p:nvSpPr>
          <p:spPr bwMode="auto">
            <a:xfrm>
              <a:off x="1936" y="1954"/>
              <a:ext cx="133" cy="162"/>
            </a:xfrm>
            <a:custGeom>
              <a:avLst/>
              <a:gdLst>
                <a:gd name="T0" fmla="*/ 7 w 554"/>
                <a:gd name="T1" fmla="*/ 19 h 685"/>
                <a:gd name="T2" fmla="*/ 9 w 554"/>
                <a:gd name="T3" fmla="*/ 18 h 685"/>
                <a:gd name="T4" fmla="*/ 10 w 554"/>
                <a:gd name="T5" fmla="*/ 26 h 685"/>
                <a:gd name="T6" fmla="*/ 8 w 554"/>
                <a:gd name="T7" fmla="*/ 24 h 685"/>
                <a:gd name="T8" fmla="*/ 9 w 554"/>
                <a:gd name="T9" fmla="*/ 31 h 685"/>
                <a:gd name="T10" fmla="*/ 11 w 554"/>
                <a:gd name="T11" fmla="*/ 33 h 685"/>
                <a:gd name="T12" fmla="*/ 14 w 554"/>
                <a:gd name="T13" fmla="*/ 34 h 685"/>
                <a:gd name="T14" fmla="*/ 18 w 554"/>
                <a:gd name="T15" fmla="*/ 31 h 685"/>
                <a:gd name="T16" fmla="*/ 22 w 554"/>
                <a:gd name="T17" fmla="*/ 35 h 685"/>
                <a:gd name="T18" fmla="*/ 24 w 554"/>
                <a:gd name="T19" fmla="*/ 36 h 685"/>
                <a:gd name="T20" fmla="*/ 29 w 554"/>
                <a:gd name="T21" fmla="*/ 37 h 685"/>
                <a:gd name="T22" fmla="*/ 29 w 554"/>
                <a:gd name="T23" fmla="*/ 38 h 685"/>
                <a:gd name="T24" fmla="*/ 30 w 554"/>
                <a:gd name="T25" fmla="*/ 37 h 685"/>
                <a:gd name="T26" fmla="*/ 30 w 554"/>
                <a:gd name="T27" fmla="*/ 35 h 685"/>
                <a:gd name="T28" fmla="*/ 32 w 554"/>
                <a:gd name="T29" fmla="*/ 34 h 685"/>
                <a:gd name="T30" fmla="*/ 29 w 554"/>
                <a:gd name="T31" fmla="*/ 30 h 685"/>
                <a:gd name="T32" fmla="*/ 29 w 554"/>
                <a:gd name="T33" fmla="*/ 29 h 685"/>
                <a:gd name="T34" fmla="*/ 29 w 554"/>
                <a:gd name="T35" fmla="*/ 27 h 685"/>
                <a:gd name="T36" fmla="*/ 24 w 554"/>
                <a:gd name="T37" fmla="*/ 22 h 685"/>
                <a:gd name="T38" fmla="*/ 25 w 554"/>
                <a:gd name="T39" fmla="*/ 20 h 685"/>
                <a:gd name="T40" fmla="*/ 23 w 554"/>
                <a:gd name="T41" fmla="*/ 20 h 685"/>
                <a:gd name="T42" fmla="*/ 23 w 554"/>
                <a:gd name="T43" fmla="*/ 17 h 685"/>
                <a:gd name="T44" fmla="*/ 21 w 554"/>
                <a:gd name="T45" fmla="*/ 20 h 685"/>
                <a:gd name="T46" fmla="*/ 20 w 554"/>
                <a:gd name="T47" fmla="*/ 20 h 685"/>
                <a:gd name="T48" fmla="*/ 18 w 554"/>
                <a:gd name="T49" fmla="*/ 17 h 685"/>
                <a:gd name="T50" fmla="*/ 20 w 554"/>
                <a:gd name="T51" fmla="*/ 13 h 685"/>
                <a:gd name="T52" fmla="*/ 19 w 554"/>
                <a:gd name="T53" fmla="*/ 7 h 685"/>
                <a:gd name="T54" fmla="*/ 18 w 554"/>
                <a:gd name="T55" fmla="*/ 3 h 685"/>
                <a:gd name="T56" fmla="*/ 18 w 554"/>
                <a:gd name="T57" fmla="*/ 2 h 685"/>
                <a:gd name="T58" fmla="*/ 16 w 554"/>
                <a:gd name="T59" fmla="*/ 0 h 685"/>
                <a:gd name="T60" fmla="*/ 14 w 554"/>
                <a:gd name="T61" fmla="*/ 1 h 685"/>
                <a:gd name="T62" fmla="*/ 14 w 554"/>
                <a:gd name="T63" fmla="*/ 3 h 685"/>
                <a:gd name="T64" fmla="*/ 14 w 554"/>
                <a:gd name="T65" fmla="*/ 5 h 685"/>
                <a:gd name="T66" fmla="*/ 14 w 554"/>
                <a:gd name="T67" fmla="*/ 11 h 685"/>
                <a:gd name="T68" fmla="*/ 10 w 554"/>
                <a:gd name="T69" fmla="*/ 14 h 685"/>
                <a:gd name="T70" fmla="*/ 9 w 554"/>
                <a:gd name="T71" fmla="*/ 13 h 685"/>
                <a:gd name="T72" fmla="*/ 9 w 554"/>
                <a:gd name="T73" fmla="*/ 14 h 685"/>
                <a:gd name="T74" fmla="*/ 7 w 554"/>
                <a:gd name="T75" fmla="*/ 9 h 685"/>
                <a:gd name="T76" fmla="*/ 6 w 554"/>
                <a:gd name="T77" fmla="*/ 13 h 685"/>
                <a:gd name="T78" fmla="*/ 4 w 554"/>
                <a:gd name="T79" fmla="*/ 9 h 685"/>
                <a:gd name="T80" fmla="*/ 4 w 554"/>
                <a:gd name="T81" fmla="*/ 13 h 685"/>
                <a:gd name="T82" fmla="*/ 2 w 554"/>
                <a:gd name="T83" fmla="*/ 19 h 685"/>
                <a:gd name="T84" fmla="*/ 0 w 554"/>
                <a:gd name="T85" fmla="*/ 21 h 685"/>
                <a:gd name="T86" fmla="*/ 2 w 554"/>
                <a:gd name="T87" fmla="*/ 22 h 685"/>
                <a:gd name="T88" fmla="*/ 0 w 554"/>
                <a:gd name="T89" fmla="*/ 26 h 685"/>
                <a:gd name="T90" fmla="*/ 1 w 554"/>
                <a:gd name="T91" fmla="*/ 27 h 685"/>
                <a:gd name="T92" fmla="*/ 1 w 554"/>
                <a:gd name="T93" fmla="*/ 29 h 685"/>
                <a:gd name="T94" fmla="*/ 6 w 554"/>
                <a:gd name="T95" fmla="*/ 27 h 685"/>
                <a:gd name="T96" fmla="*/ 6 w 554"/>
                <a:gd name="T97" fmla="*/ 22 h 685"/>
                <a:gd name="T98" fmla="*/ 7 w 554"/>
                <a:gd name="T99" fmla="*/ 19 h 6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4"/>
                <a:gd name="T151" fmla="*/ 0 h 685"/>
                <a:gd name="T152" fmla="*/ 554 w 554"/>
                <a:gd name="T153" fmla="*/ 685 h 6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4" h="685">
                  <a:moveTo>
                    <a:pt x="118" y="344"/>
                  </a:moveTo>
                  <a:lnTo>
                    <a:pt x="148" y="316"/>
                  </a:lnTo>
                  <a:lnTo>
                    <a:pt x="168" y="464"/>
                  </a:lnTo>
                  <a:lnTo>
                    <a:pt x="142" y="432"/>
                  </a:lnTo>
                  <a:lnTo>
                    <a:pt x="163" y="551"/>
                  </a:lnTo>
                  <a:lnTo>
                    <a:pt x="190" y="582"/>
                  </a:lnTo>
                  <a:lnTo>
                    <a:pt x="244" y="614"/>
                  </a:lnTo>
                  <a:lnTo>
                    <a:pt x="304" y="559"/>
                  </a:lnTo>
                  <a:lnTo>
                    <a:pt x="385" y="622"/>
                  </a:lnTo>
                  <a:lnTo>
                    <a:pt x="411" y="652"/>
                  </a:lnTo>
                  <a:lnTo>
                    <a:pt x="496" y="656"/>
                  </a:lnTo>
                  <a:lnTo>
                    <a:pt x="495" y="685"/>
                  </a:lnTo>
                  <a:lnTo>
                    <a:pt x="524" y="657"/>
                  </a:lnTo>
                  <a:lnTo>
                    <a:pt x="525" y="628"/>
                  </a:lnTo>
                  <a:lnTo>
                    <a:pt x="554" y="601"/>
                  </a:lnTo>
                  <a:lnTo>
                    <a:pt x="501" y="539"/>
                  </a:lnTo>
                  <a:lnTo>
                    <a:pt x="503" y="510"/>
                  </a:lnTo>
                  <a:lnTo>
                    <a:pt x="504" y="481"/>
                  </a:lnTo>
                  <a:lnTo>
                    <a:pt x="425" y="389"/>
                  </a:lnTo>
                  <a:lnTo>
                    <a:pt x="427" y="360"/>
                  </a:lnTo>
                  <a:lnTo>
                    <a:pt x="399" y="357"/>
                  </a:lnTo>
                  <a:lnTo>
                    <a:pt x="401" y="299"/>
                  </a:lnTo>
                  <a:lnTo>
                    <a:pt x="371" y="357"/>
                  </a:lnTo>
                  <a:lnTo>
                    <a:pt x="343" y="355"/>
                  </a:lnTo>
                  <a:lnTo>
                    <a:pt x="318" y="296"/>
                  </a:lnTo>
                  <a:lnTo>
                    <a:pt x="348" y="238"/>
                  </a:lnTo>
                  <a:lnTo>
                    <a:pt x="327" y="120"/>
                  </a:lnTo>
                  <a:lnTo>
                    <a:pt x="302" y="61"/>
                  </a:lnTo>
                  <a:lnTo>
                    <a:pt x="304" y="31"/>
                  </a:lnTo>
                  <a:lnTo>
                    <a:pt x="278" y="0"/>
                  </a:lnTo>
                  <a:lnTo>
                    <a:pt x="248" y="27"/>
                  </a:lnTo>
                  <a:lnTo>
                    <a:pt x="247" y="58"/>
                  </a:lnTo>
                  <a:lnTo>
                    <a:pt x="244" y="87"/>
                  </a:lnTo>
                  <a:lnTo>
                    <a:pt x="238" y="204"/>
                  </a:lnTo>
                  <a:lnTo>
                    <a:pt x="179" y="259"/>
                  </a:lnTo>
                  <a:lnTo>
                    <a:pt x="152" y="228"/>
                  </a:lnTo>
                  <a:lnTo>
                    <a:pt x="151" y="258"/>
                  </a:lnTo>
                  <a:lnTo>
                    <a:pt x="127" y="168"/>
                  </a:lnTo>
                  <a:lnTo>
                    <a:pt x="97" y="225"/>
                  </a:lnTo>
                  <a:lnTo>
                    <a:pt x="72" y="165"/>
                  </a:lnTo>
                  <a:lnTo>
                    <a:pt x="69" y="223"/>
                  </a:lnTo>
                  <a:lnTo>
                    <a:pt x="33" y="339"/>
                  </a:lnTo>
                  <a:lnTo>
                    <a:pt x="4" y="367"/>
                  </a:lnTo>
                  <a:lnTo>
                    <a:pt x="31" y="397"/>
                  </a:lnTo>
                  <a:lnTo>
                    <a:pt x="0" y="455"/>
                  </a:lnTo>
                  <a:lnTo>
                    <a:pt x="27" y="485"/>
                  </a:lnTo>
                  <a:lnTo>
                    <a:pt x="25" y="514"/>
                  </a:lnTo>
                  <a:lnTo>
                    <a:pt x="111" y="490"/>
                  </a:lnTo>
                  <a:lnTo>
                    <a:pt x="114" y="402"/>
                  </a:lnTo>
                  <a:lnTo>
                    <a:pt x="118" y="344"/>
                  </a:lnTo>
                </a:path>
              </a:pathLst>
            </a:custGeom>
            <a:solidFill>
              <a:srgbClr val="B2C2D1"/>
            </a:solidFill>
            <a:ln w="9525">
              <a:noFill/>
              <a:round/>
              <a:headEnd/>
              <a:tailEnd/>
            </a:ln>
          </p:spPr>
          <p:txBody>
            <a:bodyPr/>
            <a:lstStyle/>
            <a:p>
              <a:endParaRPr lang="el-GR"/>
            </a:p>
          </p:txBody>
        </p:sp>
        <p:sp>
          <p:nvSpPr>
            <p:cNvPr id="282" name="Freeform 159"/>
            <p:cNvSpPr>
              <a:spLocks/>
            </p:cNvSpPr>
            <p:nvPr/>
          </p:nvSpPr>
          <p:spPr bwMode="auto">
            <a:xfrm>
              <a:off x="2783" y="3059"/>
              <a:ext cx="852" cy="308"/>
            </a:xfrm>
            <a:custGeom>
              <a:avLst/>
              <a:gdLst>
                <a:gd name="T0" fmla="*/ 121 w 3577"/>
                <a:gd name="T1" fmla="*/ 71 h 1293"/>
                <a:gd name="T2" fmla="*/ 140 w 3577"/>
                <a:gd name="T3" fmla="*/ 69 h 1293"/>
                <a:gd name="T4" fmla="*/ 161 w 3577"/>
                <a:gd name="T5" fmla="*/ 69 h 1293"/>
                <a:gd name="T6" fmla="*/ 178 w 3577"/>
                <a:gd name="T7" fmla="*/ 68 h 1293"/>
                <a:gd name="T8" fmla="*/ 197 w 3577"/>
                <a:gd name="T9" fmla="*/ 64 h 1293"/>
                <a:gd name="T10" fmla="*/ 202 w 3577"/>
                <a:gd name="T11" fmla="*/ 54 h 1293"/>
                <a:gd name="T12" fmla="*/ 199 w 3577"/>
                <a:gd name="T13" fmla="*/ 50 h 1293"/>
                <a:gd name="T14" fmla="*/ 200 w 3577"/>
                <a:gd name="T15" fmla="*/ 42 h 1293"/>
                <a:gd name="T16" fmla="*/ 192 w 3577"/>
                <a:gd name="T17" fmla="*/ 50 h 1293"/>
                <a:gd name="T18" fmla="*/ 185 w 3577"/>
                <a:gd name="T19" fmla="*/ 50 h 1293"/>
                <a:gd name="T20" fmla="*/ 180 w 3577"/>
                <a:gd name="T21" fmla="*/ 50 h 1293"/>
                <a:gd name="T22" fmla="*/ 172 w 3577"/>
                <a:gd name="T23" fmla="*/ 52 h 1293"/>
                <a:gd name="T24" fmla="*/ 161 w 3577"/>
                <a:gd name="T25" fmla="*/ 57 h 1293"/>
                <a:gd name="T26" fmla="*/ 158 w 3577"/>
                <a:gd name="T27" fmla="*/ 50 h 1293"/>
                <a:gd name="T28" fmla="*/ 160 w 3577"/>
                <a:gd name="T29" fmla="*/ 42 h 1293"/>
                <a:gd name="T30" fmla="*/ 161 w 3577"/>
                <a:gd name="T31" fmla="*/ 39 h 1293"/>
                <a:gd name="T32" fmla="*/ 143 w 3577"/>
                <a:gd name="T33" fmla="*/ 38 h 1293"/>
                <a:gd name="T34" fmla="*/ 135 w 3577"/>
                <a:gd name="T35" fmla="*/ 37 h 1293"/>
                <a:gd name="T36" fmla="*/ 120 w 3577"/>
                <a:gd name="T37" fmla="*/ 36 h 1293"/>
                <a:gd name="T38" fmla="*/ 110 w 3577"/>
                <a:gd name="T39" fmla="*/ 33 h 1293"/>
                <a:gd name="T40" fmla="*/ 100 w 3577"/>
                <a:gd name="T41" fmla="*/ 27 h 1293"/>
                <a:gd name="T42" fmla="*/ 86 w 3577"/>
                <a:gd name="T43" fmla="*/ 28 h 1293"/>
                <a:gd name="T44" fmla="*/ 72 w 3577"/>
                <a:gd name="T45" fmla="*/ 31 h 1293"/>
                <a:gd name="T46" fmla="*/ 57 w 3577"/>
                <a:gd name="T47" fmla="*/ 30 h 1293"/>
                <a:gd name="T48" fmla="*/ 52 w 3577"/>
                <a:gd name="T49" fmla="*/ 22 h 1293"/>
                <a:gd name="T50" fmla="*/ 44 w 3577"/>
                <a:gd name="T51" fmla="*/ 21 h 1293"/>
                <a:gd name="T52" fmla="*/ 47 w 3577"/>
                <a:gd name="T53" fmla="*/ 20 h 1293"/>
                <a:gd name="T54" fmla="*/ 44 w 3577"/>
                <a:gd name="T55" fmla="*/ 10 h 1293"/>
                <a:gd name="T56" fmla="*/ 39 w 3577"/>
                <a:gd name="T57" fmla="*/ 14 h 1293"/>
                <a:gd name="T58" fmla="*/ 29 w 3577"/>
                <a:gd name="T59" fmla="*/ 15 h 1293"/>
                <a:gd name="T60" fmla="*/ 20 w 3577"/>
                <a:gd name="T61" fmla="*/ 8 h 1293"/>
                <a:gd name="T62" fmla="*/ 16 w 3577"/>
                <a:gd name="T63" fmla="*/ 3 h 1293"/>
                <a:gd name="T64" fmla="*/ 15 w 3577"/>
                <a:gd name="T65" fmla="*/ 16 h 1293"/>
                <a:gd name="T66" fmla="*/ 8 w 3577"/>
                <a:gd name="T67" fmla="*/ 13 h 1293"/>
                <a:gd name="T68" fmla="*/ 7 w 3577"/>
                <a:gd name="T69" fmla="*/ 9 h 1293"/>
                <a:gd name="T70" fmla="*/ 5 w 3577"/>
                <a:gd name="T71" fmla="*/ 18 h 1293"/>
                <a:gd name="T72" fmla="*/ 2 w 3577"/>
                <a:gd name="T73" fmla="*/ 24 h 1293"/>
                <a:gd name="T74" fmla="*/ 0 w 3577"/>
                <a:gd name="T75" fmla="*/ 36 h 1293"/>
                <a:gd name="T76" fmla="*/ 3 w 3577"/>
                <a:gd name="T77" fmla="*/ 43 h 1293"/>
                <a:gd name="T78" fmla="*/ 10 w 3577"/>
                <a:gd name="T79" fmla="*/ 41 h 1293"/>
                <a:gd name="T80" fmla="*/ 17 w 3577"/>
                <a:gd name="T81" fmla="*/ 43 h 1293"/>
                <a:gd name="T82" fmla="*/ 29 w 3577"/>
                <a:gd name="T83" fmla="*/ 44 h 1293"/>
                <a:gd name="T84" fmla="*/ 37 w 3577"/>
                <a:gd name="T85" fmla="*/ 46 h 1293"/>
                <a:gd name="T86" fmla="*/ 44 w 3577"/>
                <a:gd name="T87" fmla="*/ 46 h 1293"/>
                <a:gd name="T88" fmla="*/ 54 w 3577"/>
                <a:gd name="T89" fmla="*/ 48 h 1293"/>
                <a:gd name="T90" fmla="*/ 63 w 3577"/>
                <a:gd name="T91" fmla="*/ 47 h 1293"/>
                <a:gd name="T92" fmla="*/ 71 w 3577"/>
                <a:gd name="T93" fmla="*/ 52 h 1293"/>
                <a:gd name="T94" fmla="*/ 83 w 3577"/>
                <a:gd name="T95" fmla="*/ 55 h 1293"/>
                <a:gd name="T96" fmla="*/ 87 w 3577"/>
                <a:gd name="T97" fmla="*/ 70 h 1293"/>
                <a:gd name="T98" fmla="*/ 97 w 3577"/>
                <a:gd name="T99" fmla="*/ 72 h 1293"/>
                <a:gd name="T100" fmla="*/ 109 w 3577"/>
                <a:gd name="T101" fmla="*/ 73 h 12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77"/>
                <a:gd name="T154" fmla="*/ 0 h 1293"/>
                <a:gd name="T155" fmla="*/ 3577 w 3577"/>
                <a:gd name="T156" fmla="*/ 1293 h 12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77" h="1293">
                  <a:moveTo>
                    <a:pt x="1951" y="1282"/>
                  </a:moveTo>
                  <a:lnTo>
                    <a:pt x="1982" y="1282"/>
                  </a:lnTo>
                  <a:lnTo>
                    <a:pt x="2013" y="1255"/>
                  </a:lnTo>
                  <a:lnTo>
                    <a:pt x="2133" y="1261"/>
                  </a:lnTo>
                  <a:lnTo>
                    <a:pt x="2226" y="1208"/>
                  </a:lnTo>
                  <a:lnTo>
                    <a:pt x="2257" y="1209"/>
                  </a:lnTo>
                  <a:lnTo>
                    <a:pt x="2348" y="1184"/>
                  </a:lnTo>
                  <a:lnTo>
                    <a:pt x="2467" y="1219"/>
                  </a:lnTo>
                  <a:lnTo>
                    <a:pt x="2587" y="1224"/>
                  </a:lnTo>
                  <a:lnTo>
                    <a:pt x="2590" y="1166"/>
                  </a:lnTo>
                  <a:lnTo>
                    <a:pt x="2709" y="1201"/>
                  </a:lnTo>
                  <a:lnTo>
                    <a:pt x="2828" y="1208"/>
                  </a:lnTo>
                  <a:lnTo>
                    <a:pt x="2859" y="1209"/>
                  </a:lnTo>
                  <a:lnTo>
                    <a:pt x="2981" y="1185"/>
                  </a:lnTo>
                  <a:lnTo>
                    <a:pt x="3102" y="1161"/>
                  </a:lnTo>
                  <a:lnTo>
                    <a:pt x="3131" y="1193"/>
                  </a:lnTo>
                  <a:lnTo>
                    <a:pt x="3250" y="1227"/>
                  </a:lnTo>
                  <a:lnTo>
                    <a:pt x="3279" y="1229"/>
                  </a:lnTo>
                  <a:lnTo>
                    <a:pt x="3432" y="1177"/>
                  </a:lnTo>
                  <a:lnTo>
                    <a:pt x="3465" y="1121"/>
                  </a:lnTo>
                  <a:lnTo>
                    <a:pt x="3501" y="1035"/>
                  </a:lnTo>
                  <a:lnTo>
                    <a:pt x="3504" y="975"/>
                  </a:lnTo>
                  <a:lnTo>
                    <a:pt x="3533" y="977"/>
                  </a:lnTo>
                  <a:lnTo>
                    <a:pt x="3566" y="950"/>
                  </a:lnTo>
                  <a:lnTo>
                    <a:pt x="3567" y="921"/>
                  </a:lnTo>
                  <a:lnTo>
                    <a:pt x="3506" y="947"/>
                  </a:lnTo>
                  <a:lnTo>
                    <a:pt x="3507" y="918"/>
                  </a:lnTo>
                  <a:lnTo>
                    <a:pt x="3510" y="888"/>
                  </a:lnTo>
                  <a:lnTo>
                    <a:pt x="3513" y="830"/>
                  </a:lnTo>
                  <a:lnTo>
                    <a:pt x="3514" y="801"/>
                  </a:lnTo>
                  <a:lnTo>
                    <a:pt x="3577" y="744"/>
                  </a:lnTo>
                  <a:lnTo>
                    <a:pt x="3518" y="742"/>
                  </a:lnTo>
                  <a:lnTo>
                    <a:pt x="3484" y="800"/>
                  </a:lnTo>
                  <a:lnTo>
                    <a:pt x="3454" y="797"/>
                  </a:lnTo>
                  <a:lnTo>
                    <a:pt x="3450" y="856"/>
                  </a:lnTo>
                  <a:lnTo>
                    <a:pt x="3389" y="882"/>
                  </a:lnTo>
                  <a:lnTo>
                    <a:pt x="3357" y="910"/>
                  </a:lnTo>
                  <a:lnTo>
                    <a:pt x="3297" y="907"/>
                  </a:lnTo>
                  <a:lnTo>
                    <a:pt x="3298" y="878"/>
                  </a:lnTo>
                  <a:lnTo>
                    <a:pt x="3268" y="878"/>
                  </a:lnTo>
                  <a:lnTo>
                    <a:pt x="3239" y="875"/>
                  </a:lnTo>
                  <a:lnTo>
                    <a:pt x="3241" y="846"/>
                  </a:lnTo>
                  <a:lnTo>
                    <a:pt x="3209" y="874"/>
                  </a:lnTo>
                  <a:lnTo>
                    <a:pt x="3178" y="872"/>
                  </a:lnTo>
                  <a:lnTo>
                    <a:pt x="3147" y="900"/>
                  </a:lnTo>
                  <a:lnTo>
                    <a:pt x="3118" y="899"/>
                  </a:lnTo>
                  <a:lnTo>
                    <a:pt x="3085" y="926"/>
                  </a:lnTo>
                  <a:lnTo>
                    <a:pt x="3026" y="924"/>
                  </a:lnTo>
                  <a:lnTo>
                    <a:pt x="2963" y="978"/>
                  </a:lnTo>
                  <a:lnTo>
                    <a:pt x="2929" y="1037"/>
                  </a:lnTo>
                  <a:lnTo>
                    <a:pt x="2899" y="1035"/>
                  </a:lnTo>
                  <a:lnTo>
                    <a:pt x="2840" y="1002"/>
                  </a:lnTo>
                  <a:lnTo>
                    <a:pt x="2810" y="1000"/>
                  </a:lnTo>
                  <a:lnTo>
                    <a:pt x="2780" y="1000"/>
                  </a:lnTo>
                  <a:lnTo>
                    <a:pt x="2785" y="912"/>
                  </a:lnTo>
                  <a:lnTo>
                    <a:pt x="2786" y="882"/>
                  </a:lnTo>
                  <a:lnTo>
                    <a:pt x="2819" y="855"/>
                  </a:lnTo>
                  <a:lnTo>
                    <a:pt x="2821" y="826"/>
                  </a:lnTo>
                  <a:lnTo>
                    <a:pt x="2794" y="766"/>
                  </a:lnTo>
                  <a:lnTo>
                    <a:pt x="2825" y="738"/>
                  </a:lnTo>
                  <a:lnTo>
                    <a:pt x="2858" y="710"/>
                  </a:lnTo>
                  <a:lnTo>
                    <a:pt x="2888" y="682"/>
                  </a:lnTo>
                  <a:lnTo>
                    <a:pt x="2859" y="681"/>
                  </a:lnTo>
                  <a:lnTo>
                    <a:pt x="2828" y="679"/>
                  </a:lnTo>
                  <a:lnTo>
                    <a:pt x="2798" y="678"/>
                  </a:lnTo>
                  <a:lnTo>
                    <a:pt x="2768" y="676"/>
                  </a:lnTo>
                  <a:lnTo>
                    <a:pt x="2740" y="645"/>
                  </a:lnTo>
                  <a:lnTo>
                    <a:pt x="2529" y="664"/>
                  </a:lnTo>
                  <a:lnTo>
                    <a:pt x="2495" y="722"/>
                  </a:lnTo>
                  <a:lnTo>
                    <a:pt x="2435" y="718"/>
                  </a:lnTo>
                  <a:lnTo>
                    <a:pt x="2376" y="687"/>
                  </a:lnTo>
                  <a:lnTo>
                    <a:pt x="2378" y="657"/>
                  </a:lnTo>
                  <a:lnTo>
                    <a:pt x="2257" y="681"/>
                  </a:lnTo>
                  <a:lnTo>
                    <a:pt x="2168" y="647"/>
                  </a:lnTo>
                  <a:lnTo>
                    <a:pt x="2138" y="645"/>
                  </a:lnTo>
                  <a:lnTo>
                    <a:pt x="2108" y="644"/>
                  </a:lnTo>
                  <a:lnTo>
                    <a:pt x="2020" y="610"/>
                  </a:lnTo>
                  <a:lnTo>
                    <a:pt x="1988" y="638"/>
                  </a:lnTo>
                  <a:lnTo>
                    <a:pt x="1958" y="637"/>
                  </a:lnTo>
                  <a:lnTo>
                    <a:pt x="1932" y="577"/>
                  </a:lnTo>
                  <a:lnTo>
                    <a:pt x="1962" y="549"/>
                  </a:lnTo>
                  <a:lnTo>
                    <a:pt x="1905" y="517"/>
                  </a:lnTo>
                  <a:lnTo>
                    <a:pt x="1787" y="482"/>
                  </a:lnTo>
                  <a:lnTo>
                    <a:pt x="1756" y="480"/>
                  </a:lnTo>
                  <a:lnTo>
                    <a:pt x="1724" y="508"/>
                  </a:lnTo>
                  <a:lnTo>
                    <a:pt x="1635" y="504"/>
                  </a:lnTo>
                  <a:lnTo>
                    <a:pt x="1605" y="502"/>
                  </a:lnTo>
                  <a:lnTo>
                    <a:pt x="1515" y="498"/>
                  </a:lnTo>
                  <a:lnTo>
                    <a:pt x="1485" y="497"/>
                  </a:lnTo>
                  <a:lnTo>
                    <a:pt x="1454" y="495"/>
                  </a:lnTo>
                  <a:lnTo>
                    <a:pt x="1393" y="520"/>
                  </a:lnTo>
                  <a:lnTo>
                    <a:pt x="1271" y="545"/>
                  </a:lnTo>
                  <a:lnTo>
                    <a:pt x="1180" y="541"/>
                  </a:lnTo>
                  <a:lnTo>
                    <a:pt x="1120" y="567"/>
                  </a:lnTo>
                  <a:lnTo>
                    <a:pt x="1089" y="566"/>
                  </a:lnTo>
                  <a:lnTo>
                    <a:pt x="1002" y="532"/>
                  </a:lnTo>
                  <a:lnTo>
                    <a:pt x="969" y="559"/>
                  </a:lnTo>
                  <a:lnTo>
                    <a:pt x="939" y="557"/>
                  </a:lnTo>
                  <a:lnTo>
                    <a:pt x="945" y="441"/>
                  </a:lnTo>
                  <a:lnTo>
                    <a:pt x="918" y="381"/>
                  </a:lnTo>
                  <a:lnTo>
                    <a:pt x="887" y="409"/>
                  </a:lnTo>
                  <a:lnTo>
                    <a:pt x="858" y="408"/>
                  </a:lnTo>
                  <a:lnTo>
                    <a:pt x="830" y="376"/>
                  </a:lnTo>
                  <a:lnTo>
                    <a:pt x="769" y="373"/>
                  </a:lnTo>
                  <a:lnTo>
                    <a:pt x="710" y="342"/>
                  </a:lnTo>
                  <a:lnTo>
                    <a:pt x="713" y="313"/>
                  </a:lnTo>
                  <a:lnTo>
                    <a:pt x="800" y="346"/>
                  </a:lnTo>
                  <a:lnTo>
                    <a:pt x="831" y="348"/>
                  </a:lnTo>
                  <a:lnTo>
                    <a:pt x="896" y="263"/>
                  </a:lnTo>
                  <a:lnTo>
                    <a:pt x="870" y="202"/>
                  </a:lnTo>
                  <a:lnTo>
                    <a:pt x="810" y="171"/>
                  </a:lnTo>
                  <a:lnTo>
                    <a:pt x="781" y="169"/>
                  </a:lnTo>
                  <a:lnTo>
                    <a:pt x="752" y="168"/>
                  </a:lnTo>
                  <a:lnTo>
                    <a:pt x="719" y="196"/>
                  </a:lnTo>
                  <a:lnTo>
                    <a:pt x="747" y="226"/>
                  </a:lnTo>
                  <a:lnTo>
                    <a:pt x="685" y="252"/>
                  </a:lnTo>
                  <a:lnTo>
                    <a:pt x="683" y="282"/>
                  </a:lnTo>
                  <a:lnTo>
                    <a:pt x="622" y="308"/>
                  </a:lnTo>
                  <a:lnTo>
                    <a:pt x="534" y="275"/>
                  </a:lnTo>
                  <a:lnTo>
                    <a:pt x="504" y="274"/>
                  </a:lnTo>
                  <a:lnTo>
                    <a:pt x="414" y="268"/>
                  </a:lnTo>
                  <a:lnTo>
                    <a:pt x="354" y="265"/>
                  </a:lnTo>
                  <a:lnTo>
                    <a:pt x="356" y="237"/>
                  </a:lnTo>
                  <a:lnTo>
                    <a:pt x="360" y="149"/>
                  </a:lnTo>
                  <a:lnTo>
                    <a:pt x="334" y="90"/>
                  </a:lnTo>
                  <a:lnTo>
                    <a:pt x="365" y="61"/>
                  </a:lnTo>
                  <a:lnTo>
                    <a:pt x="309" y="0"/>
                  </a:lnTo>
                  <a:lnTo>
                    <a:pt x="275" y="56"/>
                  </a:lnTo>
                  <a:lnTo>
                    <a:pt x="270" y="144"/>
                  </a:lnTo>
                  <a:lnTo>
                    <a:pt x="239" y="143"/>
                  </a:lnTo>
                  <a:lnTo>
                    <a:pt x="266" y="202"/>
                  </a:lnTo>
                  <a:lnTo>
                    <a:pt x="262" y="290"/>
                  </a:lnTo>
                  <a:lnTo>
                    <a:pt x="260" y="320"/>
                  </a:lnTo>
                  <a:lnTo>
                    <a:pt x="170" y="315"/>
                  </a:lnTo>
                  <a:lnTo>
                    <a:pt x="142" y="284"/>
                  </a:lnTo>
                  <a:lnTo>
                    <a:pt x="145" y="226"/>
                  </a:lnTo>
                  <a:lnTo>
                    <a:pt x="117" y="196"/>
                  </a:lnTo>
                  <a:lnTo>
                    <a:pt x="151" y="139"/>
                  </a:lnTo>
                  <a:lnTo>
                    <a:pt x="121" y="108"/>
                  </a:lnTo>
                  <a:lnTo>
                    <a:pt x="118" y="165"/>
                  </a:lnTo>
                  <a:lnTo>
                    <a:pt x="89" y="165"/>
                  </a:lnTo>
                  <a:lnTo>
                    <a:pt x="88" y="193"/>
                  </a:lnTo>
                  <a:lnTo>
                    <a:pt x="82" y="282"/>
                  </a:lnTo>
                  <a:lnTo>
                    <a:pt x="80" y="311"/>
                  </a:lnTo>
                  <a:lnTo>
                    <a:pt x="46" y="398"/>
                  </a:lnTo>
                  <a:lnTo>
                    <a:pt x="76" y="398"/>
                  </a:lnTo>
                  <a:lnTo>
                    <a:pt x="74" y="427"/>
                  </a:lnTo>
                  <a:lnTo>
                    <a:pt x="43" y="426"/>
                  </a:lnTo>
                  <a:lnTo>
                    <a:pt x="9" y="513"/>
                  </a:lnTo>
                  <a:lnTo>
                    <a:pt x="5" y="570"/>
                  </a:lnTo>
                  <a:lnTo>
                    <a:pt x="36" y="572"/>
                  </a:lnTo>
                  <a:lnTo>
                    <a:pt x="2" y="630"/>
                  </a:lnTo>
                  <a:lnTo>
                    <a:pt x="0" y="659"/>
                  </a:lnTo>
                  <a:lnTo>
                    <a:pt x="30" y="660"/>
                  </a:lnTo>
                  <a:lnTo>
                    <a:pt x="59" y="691"/>
                  </a:lnTo>
                  <a:lnTo>
                    <a:pt x="55" y="750"/>
                  </a:lnTo>
                  <a:lnTo>
                    <a:pt x="88" y="722"/>
                  </a:lnTo>
                  <a:lnTo>
                    <a:pt x="86" y="751"/>
                  </a:lnTo>
                  <a:lnTo>
                    <a:pt x="145" y="754"/>
                  </a:lnTo>
                  <a:lnTo>
                    <a:pt x="178" y="726"/>
                  </a:lnTo>
                  <a:lnTo>
                    <a:pt x="206" y="756"/>
                  </a:lnTo>
                  <a:lnTo>
                    <a:pt x="237" y="729"/>
                  </a:lnTo>
                  <a:lnTo>
                    <a:pt x="297" y="731"/>
                  </a:lnTo>
                  <a:lnTo>
                    <a:pt x="296" y="761"/>
                  </a:lnTo>
                  <a:lnTo>
                    <a:pt x="356" y="735"/>
                  </a:lnTo>
                  <a:lnTo>
                    <a:pt x="417" y="738"/>
                  </a:lnTo>
                  <a:lnTo>
                    <a:pt x="447" y="739"/>
                  </a:lnTo>
                  <a:lnTo>
                    <a:pt x="505" y="772"/>
                  </a:lnTo>
                  <a:lnTo>
                    <a:pt x="535" y="773"/>
                  </a:lnTo>
                  <a:lnTo>
                    <a:pt x="567" y="744"/>
                  </a:lnTo>
                  <a:lnTo>
                    <a:pt x="598" y="747"/>
                  </a:lnTo>
                  <a:lnTo>
                    <a:pt x="654" y="807"/>
                  </a:lnTo>
                  <a:lnTo>
                    <a:pt x="684" y="809"/>
                  </a:lnTo>
                  <a:lnTo>
                    <a:pt x="715" y="810"/>
                  </a:lnTo>
                  <a:lnTo>
                    <a:pt x="745" y="813"/>
                  </a:lnTo>
                  <a:lnTo>
                    <a:pt x="773" y="814"/>
                  </a:lnTo>
                  <a:lnTo>
                    <a:pt x="864" y="818"/>
                  </a:lnTo>
                  <a:lnTo>
                    <a:pt x="892" y="849"/>
                  </a:lnTo>
                  <a:lnTo>
                    <a:pt x="923" y="851"/>
                  </a:lnTo>
                  <a:lnTo>
                    <a:pt x="953" y="853"/>
                  </a:lnTo>
                  <a:lnTo>
                    <a:pt x="926" y="791"/>
                  </a:lnTo>
                  <a:lnTo>
                    <a:pt x="1042" y="856"/>
                  </a:lnTo>
                  <a:lnTo>
                    <a:pt x="1074" y="828"/>
                  </a:lnTo>
                  <a:lnTo>
                    <a:pt x="1105" y="830"/>
                  </a:lnTo>
                  <a:lnTo>
                    <a:pt x="1101" y="888"/>
                  </a:lnTo>
                  <a:lnTo>
                    <a:pt x="1133" y="860"/>
                  </a:lnTo>
                  <a:lnTo>
                    <a:pt x="1159" y="921"/>
                  </a:lnTo>
                  <a:lnTo>
                    <a:pt x="1250" y="925"/>
                  </a:lnTo>
                  <a:lnTo>
                    <a:pt x="1280" y="926"/>
                  </a:lnTo>
                  <a:lnTo>
                    <a:pt x="1306" y="987"/>
                  </a:lnTo>
                  <a:lnTo>
                    <a:pt x="1367" y="989"/>
                  </a:lnTo>
                  <a:lnTo>
                    <a:pt x="1458" y="964"/>
                  </a:lnTo>
                  <a:lnTo>
                    <a:pt x="1544" y="1027"/>
                  </a:lnTo>
                  <a:lnTo>
                    <a:pt x="1568" y="1146"/>
                  </a:lnTo>
                  <a:lnTo>
                    <a:pt x="1539" y="1144"/>
                  </a:lnTo>
                  <a:lnTo>
                    <a:pt x="1533" y="1233"/>
                  </a:lnTo>
                  <a:lnTo>
                    <a:pt x="1531" y="1261"/>
                  </a:lnTo>
                  <a:lnTo>
                    <a:pt x="1590" y="1293"/>
                  </a:lnTo>
                  <a:lnTo>
                    <a:pt x="1651" y="1267"/>
                  </a:lnTo>
                  <a:lnTo>
                    <a:pt x="1711" y="1269"/>
                  </a:lnTo>
                  <a:lnTo>
                    <a:pt x="1831" y="1276"/>
                  </a:lnTo>
                  <a:lnTo>
                    <a:pt x="1861" y="1277"/>
                  </a:lnTo>
                  <a:lnTo>
                    <a:pt x="1892" y="1279"/>
                  </a:lnTo>
                  <a:lnTo>
                    <a:pt x="1922" y="1280"/>
                  </a:lnTo>
                  <a:lnTo>
                    <a:pt x="1951" y="1282"/>
                  </a:lnTo>
                  <a:close/>
                </a:path>
              </a:pathLst>
            </a:custGeom>
            <a:solidFill>
              <a:srgbClr val="B2C2D1"/>
            </a:solidFill>
            <a:ln w="9525">
              <a:noFill/>
              <a:round/>
              <a:headEnd/>
              <a:tailEnd/>
            </a:ln>
          </p:spPr>
          <p:txBody>
            <a:bodyPr/>
            <a:lstStyle/>
            <a:p>
              <a:endParaRPr lang="el-GR"/>
            </a:p>
          </p:txBody>
        </p:sp>
        <p:sp>
          <p:nvSpPr>
            <p:cNvPr id="283" name="Freeform 160"/>
            <p:cNvSpPr>
              <a:spLocks/>
            </p:cNvSpPr>
            <p:nvPr/>
          </p:nvSpPr>
          <p:spPr bwMode="auto">
            <a:xfrm>
              <a:off x="2783" y="3059"/>
              <a:ext cx="852" cy="308"/>
            </a:xfrm>
            <a:custGeom>
              <a:avLst/>
              <a:gdLst>
                <a:gd name="T0" fmla="*/ 121 w 3577"/>
                <a:gd name="T1" fmla="*/ 71 h 1293"/>
                <a:gd name="T2" fmla="*/ 140 w 3577"/>
                <a:gd name="T3" fmla="*/ 69 h 1293"/>
                <a:gd name="T4" fmla="*/ 161 w 3577"/>
                <a:gd name="T5" fmla="*/ 69 h 1293"/>
                <a:gd name="T6" fmla="*/ 178 w 3577"/>
                <a:gd name="T7" fmla="*/ 68 h 1293"/>
                <a:gd name="T8" fmla="*/ 197 w 3577"/>
                <a:gd name="T9" fmla="*/ 64 h 1293"/>
                <a:gd name="T10" fmla="*/ 202 w 3577"/>
                <a:gd name="T11" fmla="*/ 54 h 1293"/>
                <a:gd name="T12" fmla="*/ 199 w 3577"/>
                <a:gd name="T13" fmla="*/ 50 h 1293"/>
                <a:gd name="T14" fmla="*/ 200 w 3577"/>
                <a:gd name="T15" fmla="*/ 42 h 1293"/>
                <a:gd name="T16" fmla="*/ 192 w 3577"/>
                <a:gd name="T17" fmla="*/ 50 h 1293"/>
                <a:gd name="T18" fmla="*/ 185 w 3577"/>
                <a:gd name="T19" fmla="*/ 50 h 1293"/>
                <a:gd name="T20" fmla="*/ 180 w 3577"/>
                <a:gd name="T21" fmla="*/ 50 h 1293"/>
                <a:gd name="T22" fmla="*/ 172 w 3577"/>
                <a:gd name="T23" fmla="*/ 52 h 1293"/>
                <a:gd name="T24" fmla="*/ 161 w 3577"/>
                <a:gd name="T25" fmla="*/ 57 h 1293"/>
                <a:gd name="T26" fmla="*/ 158 w 3577"/>
                <a:gd name="T27" fmla="*/ 50 h 1293"/>
                <a:gd name="T28" fmla="*/ 160 w 3577"/>
                <a:gd name="T29" fmla="*/ 42 h 1293"/>
                <a:gd name="T30" fmla="*/ 161 w 3577"/>
                <a:gd name="T31" fmla="*/ 39 h 1293"/>
                <a:gd name="T32" fmla="*/ 143 w 3577"/>
                <a:gd name="T33" fmla="*/ 38 h 1293"/>
                <a:gd name="T34" fmla="*/ 135 w 3577"/>
                <a:gd name="T35" fmla="*/ 37 h 1293"/>
                <a:gd name="T36" fmla="*/ 120 w 3577"/>
                <a:gd name="T37" fmla="*/ 36 h 1293"/>
                <a:gd name="T38" fmla="*/ 110 w 3577"/>
                <a:gd name="T39" fmla="*/ 33 h 1293"/>
                <a:gd name="T40" fmla="*/ 100 w 3577"/>
                <a:gd name="T41" fmla="*/ 27 h 1293"/>
                <a:gd name="T42" fmla="*/ 86 w 3577"/>
                <a:gd name="T43" fmla="*/ 28 h 1293"/>
                <a:gd name="T44" fmla="*/ 72 w 3577"/>
                <a:gd name="T45" fmla="*/ 31 h 1293"/>
                <a:gd name="T46" fmla="*/ 57 w 3577"/>
                <a:gd name="T47" fmla="*/ 30 h 1293"/>
                <a:gd name="T48" fmla="*/ 52 w 3577"/>
                <a:gd name="T49" fmla="*/ 22 h 1293"/>
                <a:gd name="T50" fmla="*/ 44 w 3577"/>
                <a:gd name="T51" fmla="*/ 21 h 1293"/>
                <a:gd name="T52" fmla="*/ 47 w 3577"/>
                <a:gd name="T53" fmla="*/ 20 h 1293"/>
                <a:gd name="T54" fmla="*/ 44 w 3577"/>
                <a:gd name="T55" fmla="*/ 10 h 1293"/>
                <a:gd name="T56" fmla="*/ 39 w 3577"/>
                <a:gd name="T57" fmla="*/ 14 h 1293"/>
                <a:gd name="T58" fmla="*/ 29 w 3577"/>
                <a:gd name="T59" fmla="*/ 15 h 1293"/>
                <a:gd name="T60" fmla="*/ 20 w 3577"/>
                <a:gd name="T61" fmla="*/ 8 h 1293"/>
                <a:gd name="T62" fmla="*/ 16 w 3577"/>
                <a:gd name="T63" fmla="*/ 3 h 1293"/>
                <a:gd name="T64" fmla="*/ 15 w 3577"/>
                <a:gd name="T65" fmla="*/ 16 h 1293"/>
                <a:gd name="T66" fmla="*/ 8 w 3577"/>
                <a:gd name="T67" fmla="*/ 13 h 1293"/>
                <a:gd name="T68" fmla="*/ 7 w 3577"/>
                <a:gd name="T69" fmla="*/ 9 h 1293"/>
                <a:gd name="T70" fmla="*/ 5 w 3577"/>
                <a:gd name="T71" fmla="*/ 18 h 1293"/>
                <a:gd name="T72" fmla="*/ 2 w 3577"/>
                <a:gd name="T73" fmla="*/ 24 h 1293"/>
                <a:gd name="T74" fmla="*/ 0 w 3577"/>
                <a:gd name="T75" fmla="*/ 36 h 1293"/>
                <a:gd name="T76" fmla="*/ 3 w 3577"/>
                <a:gd name="T77" fmla="*/ 43 h 1293"/>
                <a:gd name="T78" fmla="*/ 10 w 3577"/>
                <a:gd name="T79" fmla="*/ 41 h 1293"/>
                <a:gd name="T80" fmla="*/ 17 w 3577"/>
                <a:gd name="T81" fmla="*/ 43 h 1293"/>
                <a:gd name="T82" fmla="*/ 29 w 3577"/>
                <a:gd name="T83" fmla="*/ 44 h 1293"/>
                <a:gd name="T84" fmla="*/ 37 w 3577"/>
                <a:gd name="T85" fmla="*/ 46 h 1293"/>
                <a:gd name="T86" fmla="*/ 44 w 3577"/>
                <a:gd name="T87" fmla="*/ 46 h 1293"/>
                <a:gd name="T88" fmla="*/ 54 w 3577"/>
                <a:gd name="T89" fmla="*/ 48 h 1293"/>
                <a:gd name="T90" fmla="*/ 63 w 3577"/>
                <a:gd name="T91" fmla="*/ 47 h 1293"/>
                <a:gd name="T92" fmla="*/ 71 w 3577"/>
                <a:gd name="T93" fmla="*/ 52 h 1293"/>
                <a:gd name="T94" fmla="*/ 83 w 3577"/>
                <a:gd name="T95" fmla="*/ 55 h 1293"/>
                <a:gd name="T96" fmla="*/ 87 w 3577"/>
                <a:gd name="T97" fmla="*/ 70 h 1293"/>
                <a:gd name="T98" fmla="*/ 97 w 3577"/>
                <a:gd name="T99" fmla="*/ 72 h 1293"/>
                <a:gd name="T100" fmla="*/ 109 w 3577"/>
                <a:gd name="T101" fmla="*/ 73 h 129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77"/>
                <a:gd name="T154" fmla="*/ 0 h 1293"/>
                <a:gd name="T155" fmla="*/ 3577 w 3577"/>
                <a:gd name="T156" fmla="*/ 1293 h 129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77" h="1293">
                  <a:moveTo>
                    <a:pt x="1951" y="1282"/>
                  </a:moveTo>
                  <a:lnTo>
                    <a:pt x="1982" y="1282"/>
                  </a:lnTo>
                  <a:lnTo>
                    <a:pt x="2013" y="1255"/>
                  </a:lnTo>
                  <a:lnTo>
                    <a:pt x="2133" y="1261"/>
                  </a:lnTo>
                  <a:lnTo>
                    <a:pt x="2226" y="1208"/>
                  </a:lnTo>
                  <a:lnTo>
                    <a:pt x="2257" y="1209"/>
                  </a:lnTo>
                  <a:lnTo>
                    <a:pt x="2348" y="1184"/>
                  </a:lnTo>
                  <a:lnTo>
                    <a:pt x="2467" y="1219"/>
                  </a:lnTo>
                  <a:lnTo>
                    <a:pt x="2587" y="1224"/>
                  </a:lnTo>
                  <a:lnTo>
                    <a:pt x="2590" y="1166"/>
                  </a:lnTo>
                  <a:lnTo>
                    <a:pt x="2709" y="1201"/>
                  </a:lnTo>
                  <a:lnTo>
                    <a:pt x="2828" y="1208"/>
                  </a:lnTo>
                  <a:lnTo>
                    <a:pt x="2859" y="1209"/>
                  </a:lnTo>
                  <a:lnTo>
                    <a:pt x="2981" y="1185"/>
                  </a:lnTo>
                  <a:lnTo>
                    <a:pt x="3102" y="1161"/>
                  </a:lnTo>
                  <a:lnTo>
                    <a:pt x="3131" y="1193"/>
                  </a:lnTo>
                  <a:lnTo>
                    <a:pt x="3250" y="1227"/>
                  </a:lnTo>
                  <a:lnTo>
                    <a:pt x="3279" y="1229"/>
                  </a:lnTo>
                  <a:lnTo>
                    <a:pt x="3432" y="1177"/>
                  </a:lnTo>
                  <a:lnTo>
                    <a:pt x="3465" y="1121"/>
                  </a:lnTo>
                  <a:lnTo>
                    <a:pt x="3501" y="1035"/>
                  </a:lnTo>
                  <a:lnTo>
                    <a:pt x="3504" y="975"/>
                  </a:lnTo>
                  <a:lnTo>
                    <a:pt x="3533" y="977"/>
                  </a:lnTo>
                  <a:lnTo>
                    <a:pt x="3566" y="950"/>
                  </a:lnTo>
                  <a:lnTo>
                    <a:pt x="3567" y="921"/>
                  </a:lnTo>
                  <a:lnTo>
                    <a:pt x="3506" y="947"/>
                  </a:lnTo>
                  <a:lnTo>
                    <a:pt x="3507" y="918"/>
                  </a:lnTo>
                  <a:lnTo>
                    <a:pt x="3510" y="888"/>
                  </a:lnTo>
                  <a:lnTo>
                    <a:pt x="3513" y="830"/>
                  </a:lnTo>
                  <a:lnTo>
                    <a:pt x="3514" y="801"/>
                  </a:lnTo>
                  <a:lnTo>
                    <a:pt x="3577" y="744"/>
                  </a:lnTo>
                  <a:lnTo>
                    <a:pt x="3518" y="742"/>
                  </a:lnTo>
                  <a:lnTo>
                    <a:pt x="3484" y="800"/>
                  </a:lnTo>
                  <a:lnTo>
                    <a:pt x="3454" y="797"/>
                  </a:lnTo>
                  <a:lnTo>
                    <a:pt x="3450" y="856"/>
                  </a:lnTo>
                  <a:lnTo>
                    <a:pt x="3389" y="882"/>
                  </a:lnTo>
                  <a:lnTo>
                    <a:pt x="3357" y="910"/>
                  </a:lnTo>
                  <a:lnTo>
                    <a:pt x="3297" y="907"/>
                  </a:lnTo>
                  <a:lnTo>
                    <a:pt x="3298" y="878"/>
                  </a:lnTo>
                  <a:lnTo>
                    <a:pt x="3268" y="878"/>
                  </a:lnTo>
                  <a:lnTo>
                    <a:pt x="3239" y="875"/>
                  </a:lnTo>
                  <a:lnTo>
                    <a:pt x="3241" y="846"/>
                  </a:lnTo>
                  <a:lnTo>
                    <a:pt x="3209" y="874"/>
                  </a:lnTo>
                  <a:lnTo>
                    <a:pt x="3178" y="872"/>
                  </a:lnTo>
                  <a:lnTo>
                    <a:pt x="3147" y="900"/>
                  </a:lnTo>
                  <a:lnTo>
                    <a:pt x="3118" y="899"/>
                  </a:lnTo>
                  <a:lnTo>
                    <a:pt x="3085" y="926"/>
                  </a:lnTo>
                  <a:lnTo>
                    <a:pt x="3026" y="924"/>
                  </a:lnTo>
                  <a:lnTo>
                    <a:pt x="2963" y="978"/>
                  </a:lnTo>
                  <a:lnTo>
                    <a:pt x="2929" y="1037"/>
                  </a:lnTo>
                  <a:lnTo>
                    <a:pt x="2899" y="1035"/>
                  </a:lnTo>
                  <a:lnTo>
                    <a:pt x="2840" y="1002"/>
                  </a:lnTo>
                  <a:lnTo>
                    <a:pt x="2810" y="1000"/>
                  </a:lnTo>
                  <a:lnTo>
                    <a:pt x="2780" y="1000"/>
                  </a:lnTo>
                  <a:lnTo>
                    <a:pt x="2785" y="912"/>
                  </a:lnTo>
                  <a:lnTo>
                    <a:pt x="2786" y="882"/>
                  </a:lnTo>
                  <a:lnTo>
                    <a:pt x="2819" y="855"/>
                  </a:lnTo>
                  <a:lnTo>
                    <a:pt x="2821" y="826"/>
                  </a:lnTo>
                  <a:lnTo>
                    <a:pt x="2794" y="766"/>
                  </a:lnTo>
                  <a:lnTo>
                    <a:pt x="2825" y="738"/>
                  </a:lnTo>
                  <a:lnTo>
                    <a:pt x="2858" y="710"/>
                  </a:lnTo>
                  <a:lnTo>
                    <a:pt x="2888" y="682"/>
                  </a:lnTo>
                  <a:lnTo>
                    <a:pt x="2859" y="681"/>
                  </a:lnTo>
                  <a:lnTo>
                    <a:pt x="2828" y="679"/>
                  </a:lnTo>
                  <a:lnTo>
                    <a:pt x="2798" y="678"/>
                  </a:lnTo>
                  <a:lnTo>
                    <a:pt x="2768" y="676"/>
                  </a:lnTo>
                  <a:lnTo>
                    <a:pt x="2740" y="645"/>
                  </a:lnTo>
                  <a:lnTo>
                    <a:pt x="2529" y="664"/>
                  </a:lnTo>
                  <a:lnTo>
                    <a:pt x="2495" y="722"/>
                  </a:lnTo>
                  <a:lnTo>
                    <a:pt x="2435" y="718"/>
                  </a:lnTo>
                  <a:lnTo>
                    <a:pt x="2376" y="687"/>
                  </a:lnTo>
                  <a:lnTo>
                    <a:pt x="2378" y="657"/>
                  </a:lnTo>
                  <a:lnTo>
                    <a:pt x="2257" y="681"/>
                  </a:lnTo>
                  <a:lnTo>
                    <a:pt x="2168" y="647"/>
                  </a:lnTo>
                  <a:lnTo>
                    <a:pt x="2138" y="645"/>
                  </a:lnTo>
                  <a:lnTo>
                    <a:pt x="2108" y="644"/>
                  </a:lnTo>
                  <a:lnTo>
                    <a:pt x="2020" y="610"/>
                  </a:lnTo>
                  <a:lnTo>
                    <a:pt x="1988" y="638"/>
                  </a:lnTo>
                  <a:lnTo>
                    <a:pt x="1958" y="637"/>
                  </a:lnTo>
                  <a:lnTo>
                    <a:pt x="1932" y="577"/>
                  </a:lnTo>
                  <a:lnTo>
                    <a:pt x="1962" y="549"/>
                  </a:lnTo>
                  <a:lnTo>
                    <a:pt x="1905" y="517"/>
                  </a:lnTo>
                  <a:lnTo>
                    <a:pt x="1787" y="482"/>
                  </a:lnTo>
                  <a:lnTo>
                    <a:pt x="1756" y="480"/>
                  </a:lnTo>
                  <a:lnTo>
                    <a:pt x="1724" y="508"/>
                  </a:lnTo>
                  <a:lnTo>
                    <a:pt x="1635" y="504"/>
                  </a:lnTo>
                  <a:lnTo>
                    <a:pt x="1605" y="502"/>
                  </a:lnTo>
                  <a:lnTo>
                    <a:pt x="1515" y="498"/>
                  </a:lnTo>
                  <a:lnTo>
                    <a:pt x="1485" y="497"/>
                  </a:lnTo>
                  <a:lnTo>
                    <a:pt x="1454" y="495"/>
                  </a:lnTo>
                  <a:lnTo>
                    <a:pt x="1393" y="520"/>
                  </a:lnTo>
                  <a:lnTo>
                    <a:pt x="1271" y="545"/>
                  </a:lnTo>
                  <a:lnTo>
                    <a:pt x="1180" y="541"/>
                  </a:lnTo>
                  <a:lnTo>
                    <a:pt x="1120" y="567"/>
                  </a:lnTo>
                  <a:lnTo>
                    <a:pt x="1089" y="566"/>
                  </a:lnTo>
                  <a:lnTo>
                    <a:pt x="1002" y="532"/>
                  </a:lnTo>
                  <a:lnTo>
                    <a:pt x="969" y="559"/>
                  </a:lnTo>
                  <a:lnTo>
                    <a:pt x="939" y="557"/>
                  </a:lnTo>
                  <a:lnTo>
                    <a:pt x="945" y="441"/>
                  </a:lnTo>
                  <a:lnTo>
                    <a:pt x="918" y="381"/>
                  </a:lnTo>
                  <a:lnTo>
                    <a:pt x="887" y="409"/>
                  </a:lnTo>
                  <a:lnTo>
                    <a:pt x="858" y="408"/>
                  </a:lnTo>
                  <a:lnTo>
                    <a:pt x="830" y="376"/>
                  </a:lnTo>
                  <a:lnTo>
                    <a:pt x="769" y="373"/>
                  </a:lnTo>
                  <a:lnTo>
                    <a:pt x="710" y="342"/>
                  </a:lnTo>
                  <a:lnTo>
                    <a:pt x="713" y="313"/>
                  </a:lnTo>
                  <a:lnTo>
                    <a:pt x="800" y="346"/>
                  </a:lnTo>
                  <a:lnTo>
                    <a:pt x="831" y="348"/>
                  </a:lnTo>
                  <a:lnTo>
                    <a:pt x="896" y="263"/>
                  </a:lnTo>
                  <a:lnTo>
                    <a:pt x="870" y="202"/>
                  </a:lnTo>
                  <a:lnTo>
                    <a:pt x="810" y="171"/>
                  </a:lnTo>
                  <a:lnTo>
                    <a:pt x="781" y="169"/>
                  </a:lnTo>
                  <a:lnTo>
                    <a:pt x="752" y="168"/>
                  </a:lnTo>
                  <a:lnTo>
                    <a:pt x="719" y="196"/>
                  </a:lnTo>
                  <a:lnTo>
                    <a:pt x="747" y="226"/>
                  </a:lnTo>
                  <a:lnTo>
                    <a:pt x="685" y="252"/>
                  </a:lnTo>
                  <a:lnTo>
                    <a:pt x="683" y="282"/>
                  </a:lnTo>
                  <a:lnTo>
                    <a:pt x="622" y="308"/>
                  </a:lnTo>
                  <a:lnTo>
                    <a:pt x="534" y="275"/>
                  </a:lnTo>
                  <a:lnTo>
                    <a:pt x="504" y="274"/>
                  </a:lnTo>
                  <a:lnTo>
                    <a:pt x="414" y="268"/>
                  </a:lnTo>
                  <a:lnTo>
                    <a:pt x="354" y="265"/>
                  </a:lnTo>
                  <a:lnTo>
                    <a:pt x="356" y="237"/>
                  </a:lnTo>
                  <a:lnTo>
                    <a:pt x="360" y="149"/>
                  </a:lnTo>
                  <a:lnTo>
                    <a:pt x="334" y="90"/>
                  </a:lnTo>
                  <a:lnTo>
                    <a:pt x="365" y="61"/>
                  </a:lnTo>
                  <a:lnTo>
                    <a:pt x="309" y="0"/>
                  </a:lnTo>
                  <a:lnTo>
                    <a:pt x="275" y="56"/>
                  </a:lnTo>
                  <a:lnTo>
                    <a:pt x="270" y="144"/>
                  </a:lnTo>
                  <a:lnTo>
                    <a:pt x="239" y="143"/>
                  </a:lnTo>
                  <a:lnTo>
                    <a:pt x="266" y="202"/>
                  </a:lnTo>
                  <a:lnTo>
                    <a:pt x="262" y="290"/>
                  </a:lnTo>
                  <a:lnTo>
                    <a:pt x="260" y="320"/>
                  </a:lnTo>
                  <a:lnTo>
                    <a:pt x="170" y="315"/>
                  </a:lnTo>
                  <a:lnTo>
                    <a:pt x="142" y="284"/>
                  </a:lnTo>
                  <a:lnTo>
                    <a:pt x="145" y="226"/>
                  </a:lnTo>
                  <a:lnTo>
                    <a:pt x="117" y="196"/>
                  </a:lnTo>
                  <a:lnTo>
                    <a:pt x="151" y="139"/>
                  </a:lnTo>
                  <a:lnTo>
                    <a:pt x="121" y="108"/>
                  </a:lnTo>
                  <a:lnTo>
                    <a:pt x="118" y="165"/>
                  </a:lnTo>
                  <a:lnTo>
                    <a:pt x="89" y="165"/>
                  </a:lnTo>
                  <a:lnTo>
                    <a:pt x="88" y="193"/>
                  </a:lnTo>
                  <a:lnTo>
                    <a:pt x="82" y="282"/>
                  </a:lnTo>
                  <a:lnTo>
                    <a:pt x="80" y="311"/>
                  </a:lnTo>
                  <a:lnTo>
                    <a:pt x="46" y="398"/>
                  </a:lnTo>
                  <a:lnTo>
                    <a:pt x="76" y="398"/>
                  </a:lnTo>
                  <a:lnTo>
                    <a:pt x="74" y="427"/>
                  </a:lnTo>
                  <a:lnTo>
                    <a:pt x="43" y="426"/>
                  </a:lnTo>
                  <a:lnTo>
                    <a:pt x="9" y="513"/>
                  </a:lnTo>
                  <a:lnTo>
                    <a:pt x="5" y="570"/>
                  </a:lnTo>
                  <a:lnTo>
                    <a:pt x="36" y="572"/>
                  </a:lnTo>
                  <a:lnTo>
                    <a:pt x="2" y="630"/>
                  </a:lnTo>
                  <a:lnTo>
                    <a:pt x="0" y="659"/>
                  </a:lnTo>
                  <a:lnTo>
                    <a:pt x="30" y="660"/>
                  </a:lnTo>
                  <a:lnTo>
                    <a:pt x="59" y="691"/>
                  </a:lnTo>
                  <a:lnTo>
                    <a:pt x="55" y="750"/>
                  </a:lnTo>
                  <a:lnTo>
                    <a:pt x="88" y="722"/>
                  </a:lnTo>
                  <a:lnTo>
                    <a:pt x="86" y="751"/>
                  </a:lnTo>
                  <a:lnTo>
                    <a:pt x="145" y="754"/>
                  </a:lnTo>
                  <a:lnTo>
                    <a:pt x="178" y="726"/>
                  </a:lnTo>
                  <a:lnTo>
                    <a:pt x="206" y="756"/>
                  </a:lnTo>
                  <a:lnTo>
                    <a:pt x="237" y="729"/>
                  </a:lnTo>
                  <a:lnTo>
                    <a:pt x="297" y="731"/>
                  </a:lnTo>
                  <a:lnTo>
                    <a:pt x="296" y="761"/>
                  </a:lnTo>
                  <a:lnTo>
                    <a:pt x="356" y="735"/>
                  </a:lnTo>
                  <a:lnTo>
                    <a:pt x="417" y="738"/>
                  </a:lnTo>
                  <a:lnTo>
                    <a:pt x="447" y="739"/>
                  </a:lnTo>
                  <a:lnTo>
                    <a:pt x="505" y="772"/>
                  </a:lnTo>
                  <a:lnTo>
                    <a:pt x="535" y="773"/>
                  </a:lnTo>
                  <a:lnTo>
                    <a:pt x="567" y="744"/>
                  </a:lnTo>
                  <a:lnTo>
                    <a:pt x="598" y="747"/>
                  </a:lnTo>
                  <a:lnTo>
                    <a:pt x="654" y="807"/>
                  </a:lnTo>
                  <a:lnTo>
                    <a:pt x="684" y="809"/>
                  </a:lnTo>
                  <a:lnTo>
                    <a:pt x="715" y="810"/>
                  </a:lnTo>
                  <a:lnTo>
                    <a:pt x="745" y="813"/>
                  </a:lnTo>
                  <a:lnTo>
                    <a:pt x="773" y="814"/>
                  </a:lnTo>
                  <a:lnTo>
                    <a:pt x="864" y="818"/>
                  </a:lnTo>
                  <a:lnTo>
                    <a:pt x="892" y="849"/>
                  </a:lnTo>
                  <a:lnTo>
                    <a:pt x="923" y="851"/>
                  </a:lnTo>
                  <a:lnTo>
                    <a:pt x="953" y="853"/>
                  </a:lnTo>
                  <a:lnTo>
                    <a:pt x="926" y="791"/>
                  </a:lnTo>
                  <a:lnTo>
                    <a:pt x="1042" y="856"/>
                  </a:lnTo>
                  <a:lnTo>
                    <a:pt x="1074" y="828"/>
                  </a:lnTo>
                  <a:lnTo>
                    <a:pt x="1105" y="830"/>
                  </a:lnTo>
                  <a:lnTo>
                    <a:pt x="1101" y="888"/>
                  </a:lnTo>
                  <a:lnTo>
                    <a:pt x="1133" y="860"/>
                  </a:lnTo>
                  <a:lnTo>
                    <a:pt x="1159" y="921"/>
                  </a:lnTo>
                  <a:lnTo>
                    <a:pt x="1250" y="925"/>
                  </a:lnTo>
                  <a:lnTo>
                    <a:pt x="1280" y="926"/>
                  </a:lnTo>
                  <a:lnTo>
                    <a:pt x="1306" y="987"/>
                  </a:lnTo>
                  <a:lnTo>
                    <a:pt x="1367" y="989"/>
                  </a:lnTo>
                  <a:lnTo>
                    <a:pt x="1458" y="964"/>
                  </a:lnTo>
                  <a:lnTo>
                    <a:pt x="1544" y="1027"/>
                  </a:lnTo>
                  <a:lnTo>
                    <a:pt x="1568" y="1146"/>
                  </a:lnTo>
                  <a:lnTo>
                    <a:pt x="1539" y="1144"/>
                  </a:lnTo>
                  <a:lnTo>
                    <a:pt x="1533" y="1233"/>
                  </a:lnTo>
                  <a:lnTo>
                    <a:pt x="1531" y="1261"/>
                  </a:lnTo>
                  <a:lnTo>
                    <a:pt x="1590" y="1293"/>
                  </a:lnTo>
                  <a:lnTo>
                    <a:pt x="1651" y="1267"/>
                  </a:lnTo>
                  <a:lnTo>
                    <a:pt x="1711" y="1269"/>
                  </a:lnTo>
                  <a:lnTo>
                    <a:pt x="1831" y="1276"/>
                  </a:lnTo>
                  <a:lnTo>
                    <a:pt x="1861" y="1277"/>
                  </a:lnTo>
                  <a:lnTo>
                    <a:pt x="1892" y="1279"/>
                  </a:lnTo>
                  <a:lnTo>
                    <a:pt x="1922" y="1280"/>
                  </a:lnTo>
                  <a:lnTo>
                    <a:pt x="1951" y="1282"/>
                  </a:lnTo>
                </a:path>
              </a:pathLst>
            </a:custGeom>
            <a:solidFill>
              <a:srgbClr val="B2C2D1"/>
            </a:solidFill>
            <a:ln w="9525">
              <a:noFill/>
              <a:round/>
              <a:headEnd/>
              <a:tailEnd/>
            </a:ln>
          </p:spPr>
          <p:txBody>
            <a:bodyPr/>
            <a:lstStyle/>
            <a:p>
              <a:endParaRPr lang="el-GR"/>
            </a:p>
          </p:txBody>
        </p:sp>
        <p:sp>
          <p:nvSpPr>
            <p:cNvPr id="284" name="Freeform 161"/>
            <p:cNvSpPr>
              <a:spLocks/>
            </p:cNvSpPr>
            <p:nvPr/>
          </p:nvSpPr>
          <p:spPr bwMode="auto">
            <a:xfrm>
              <a:off x="2656" y="1786"/>
              <a:ext cx="488" cy="428"/>
            </a:xfrm>
            <a:custGeom>
              <a:avLst/>
              <a:gdLst>
                <a:gd name="T0" fmla="*/ 106 w 2048"/>
                <a:gd name="T1" fmla="*/ 97 h 1799"/>
                <a:gd name="T2" fmla="*/ 107 w 2048"/>
                <a:gd name="T3" fmla="*/ 102 h 1799"/>
                <a:gd name="T4" fmla="*/ 112 w 2048"/>
                <a:gd name="T5" fmla="*/ 99 h 1799"/>
                <a:gd name="T6" fmla="*/ 114 w 2048"/>
                <a:gd name="T7" fmla="*/ 94 h 1799"/>
                <a:gd name="T8" fmla="*/ 114 w 2048"/>
                <a:gd name="T9" fmla="*/ 89 h 1799"/>
                <a:gd name="T10" fmla="*/ 113 w 2048"/>
                <a:gd name="T11" fmla="*/ 84 h 1799"/>
                <a:gd name="T12" fmla="*/ 104 w 2048"/>
                <a:gd name="T13" fmla="*/ 82 h 1799"/>
                <a:gd name="T14" fmla="*/ 99 w 2048"/>
                <a:gd name="T15" fmla="*/ 80 h 1799"/>
                <a:gd name="T16" fmla="*/ 93 w 2048"/>
                <a:gd name="T17" fmla="*/ 74 h 1799"/>
                <a:gd name="T18" fmla="*/ 95 w 2048"/>
                <a:gd name="T19" fmla="*/ 69 h 1799"/>
                <a:gd name="T20" fmla="*/ 90 w 2048"/>
                <a:gd name="T21" fmla="*/ 61 h 1799"/>
                <a:gd name="T22" fmla="*/ 91 w 2048"/>
                <a:gd name="T23" fmla="*/ 56 h 1799"/>
                <a:gd name="T24" fmla="*/ 94 w 2048"/>
                <a:gd name="T25" fmla="*/ 48 h 1799"/>
                <a:gd name="T26" fmla="*/ 88 w 2048"/>
                <a:gd name="T27" fmla="*/ 43 h 1799"/>
                <a:gd name="T28" fmla="*/ 82 w 2048"/>
                <a:gd name="T29" fmla="*/ 34 h 1799"/>
                <a:gd name="T30" fmla="*/ 73 w 2048"/>
                <a:gd name="T31" fmla="*/ 35 h 1799"/>
                <a:gd name="T32" fmla="*/ 63 w 2048"/>
                <a:gd name="T33" fmla="*/ 31 h 1799"/>
                <a:gd name="T34" fmla="*/ 55 w 2048"/>
                <a:gd name="T35" fmla="*/ 28 h 1799"/>
                <a:gd name="T36" fmla="*/ 51 w 2048"/>
                <a:gd name="T37" fmla="*/ 24 h 1799"/>
                <a:gd name="T38" fmla="*/ 42 w 2048"/>
                <a:gd name="T39" fmla="*/ 12 h 1799"/>
                <a:gd name="T40" fmla="*/ 39 w 2048"/>
                <a:gd name="T41" fmla="*/ 4 h 1799"/>
                <a:gd name="T42" fmla="*/ 33 w 2048"/>
                <a:gd name="T43" fmla="*/ 0 h 1799"/>
                <a:gd name="T44" fmla="*/ 22 w 2048"/>
                <a:gd name="T45" fmla="*/ 3 h 1799"/>
                <a:gd name="T46" fmla="*/ 20 w 2048"/>
                <a:gd name="T47" fmla="*/ 4 h 1799"/>
                <a:gd name="T48" fmla="*/ 15 w 2048"/>
                <a:gd name="T49" fmla="*/ 9 h 1799"/>
                <a:gd name="T50" fmla="*/ 7 w 2048"/>
                <a:gd name="T51" fmla="*/ 14 h 1799"/>
                <a:gd name="T52" fmla="*/ 5 w 2048"/>
                <a:gd name="T53" fmla="*/ 17 h 1799"/>
                <a:gd name="T54" fmla="*/ 11 w 2048"/>
                <a:gd name="T55" fmla="*/ 14 h 1799"/>
                <a:gd name="T56" fmla="*/ 15 w 2048"/>
                <a:gd name="T57" fmla="*/ 14 h 1799"/>
                <a:gd name="T58" fmla="*/ 21 w 2048"/>
                <a:gd name="T59" fmla="*/ 18 h 1799"/>
                <a:gd name="T60" fmla="*/ 27 w 2048"/>
                <a:gd name="T61" fmla="*/ 21 h 1799"/>
                <a:gd name="T62" fmla="*/ 33 w 2048"/>
                <a:gd name="T63" fmla="*/ 25 h 1799"/>
                <a:gd name="T64" fmla="*/ 41 w 2048"/>
                <a:gd name="T65" fmla="*/ 32 h 1799"/>
                <a:gd name="T66" fmla="*/ 45 w 2048"/>
                <a:gd name="T67" fmla="*/ 39 h 1799"/>
                <a:gd name="T68" fmla="*/ 53 w 2048"/>
                <a:gd name="T69" fmla="*/ 44 h 1799"/>
                <a:gd name="T70" fmla="*/ 52 w 2048"/>
                <a:gd name="T71" fmla="*/ 53 h 1799"/>
                <a:gd name="T72" fmla="*/ 59 w 2048"/>
                <a:gd name="T73" fmla="*/ 58 h 1799"/>
                <a:gd name="T74" fmla="*/ 70 w 2048"/>
                <a:gd name="T75" fmla="*/ 62 h 1799"/>
                <a:gd name="T76" fmla="*/ 81 w 2048"/>
                <a:gd name="T77" fmla="*/ 61 h 1799"/>
                <a:gd name="T78" fmla="*/ 84 w 2048"/>
                <a:gd name="T79" fmla="*/ 67 h 1799"/>
                <a:gd name="T80" fmla="*/ 85 w 2048"/>
                <a:gd name="T81" fmla="*/ 74 h 1799"/>
                <a:gd name="T82" fmla="*/ 86 w 2048"/>
                <a:gd name="T83" fmla="*/ 74 h 1799"/>
                <a:gd name="T84" fmla="*/ 88 w 2048"/>
                <a:gd name="T85" fmla="*/ 76 h 1799"/>
                <a:gd name="T86" fmla="*/ 87 w 2048"/>
                <a:gd name="T87" fmla="*/ 84 h 1799"/>
                <a:gd name="T88" fmla="*/ 89 w 2048"/>
                <a:gd name="T89" fmla="*/ 88 h 1799"/>
                <a:gd name="T90" fmla="*/ 97 w 2048"/>
                <a:gd name="T91" fmla="*/ 95 h 1799"/>
                <a:gd name="T92" fmla="*/ 99 w 2048"/>
                <a:gd name="T93" fmla="*/ 100 h 1799"/>
                <a:gd name="T94" fmla="*/ 101 w 2048"/>
                <a:gd name="T95" fmla="*/ 98 h 179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48"/>
                <a:gd name="T145" fmla="*/ 0 h 1799"/>
                <a:gd name="T146" fmla="*/ 2048 w 2048"/>
                <a:gd name="T147" fmla="*/ 1799 h 179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48" h="1799">
                  <a:moveTo>
                    <a:pt x="1780" y="1733"/>
                  </a:moveTo>
                  <a:lnTo>
                    <a:pt x="1811" y="1705"/>
                  </a:lnTo>
                  <a:lnTo>
                    <a:pt x="1867" y="1709"/>
                  </a:lnTo>
                  <a:lnTo>
                    <a:pt x="1893" y="1739"/>
                  </a:lnTo>
                  <a:lnTo>
                    <a:pt x="1892" y="1768"/>
                  </a:lnTo>
                  <a:lnTo>
                    <a:pt x="1890" y="1798"/>
                  </a:lnTo>
                  <a:lnTo>
                    <a:pt x="1918" y="1799"/>
                  </a:lnTo>
                  <a:lnTo>
                    <a:pt x="1947" y="1771"/>
                  </a:lnTo>
                  <a:lnTo>
                    <a:pt x="1978" y="1744"/>
                  </a:lnTo>
                  <a:lnTo>
                    <a:pt x="2007" y="1716"/>
                  </a:lnTo>
                  <a:lnTo>
                    <a:pt x="2009" y="1687"/>
                  </a:lnTo>
                  <a:lnTo>
                    <a:pt x="2011" y="1658"/>
                  </a:lnTo>
                  <a:lnTo>
                    <a:pt x="2040" y="1630"/>
                  </a:lnTo>
                  <a:lnTo>
                    <a:pt x="2013" y="1599"/>
                  </a:lnTo>
                  <a:lnTo>
                    <a:pt x="2014" y="1570"/>
                  </a:lnTo>
                  <a:lnTo>
                    <a:pt x="2016" y="1541"/>
                  </a:lnTo>
                  <a:lnTo>
                    <a:pt x="2048" y="1483"/>
                  </a:lnTo>
                  <a:lnTo>
                    <a:pt x="1992" y="1481"/>
                  </a:lnTo>
                  <a:lnTo>
                    <a:pt x="1935" y="1478"/>
                  </a:lnTo>
                  <a:lnTo>
                    <a:pt x="1879" y="1475"/>
                  </a:lnTo>
                  <a:lnTo>
                    <a:pt x="1825" y="1443"/>
                  </a:lnTo>
                  <a:lnTo>
                    <a:pt x="1739" y="1468"/>
                  </a:lnTo>
                  <a:lnTo>
                    <a:pt x="1740" y="1438"/>
                  </a:lnTo>
                  <a:lnTo>
                    <a:pt x="1741" y="1409"/>
                  </a:lnTo>
                  <a:lnTo>
                    <a:pt x="1713" y="1408"/>
                  </a:lnTo>
                  <a:lnTo>
                    <a:pt x="1659" y="1375"/>
                  </a:lnTo>
                  <a:lnTo>
                    <a:pt x="1634" y="1316"/>
                  </a:lnTo>
                  <a:lnTo>
                    <a:pt x="1662" y="1317"/>
                  </a:lnTo>
                  <a:lnTo>
                    <a:pt x="1637" y="1257"/>
                  </a:lnTo>
                  <a:lnTo>
                    <a:pt x="1668" y="1229"/>
                  </a:lnTo>
                  <a:lnTo>
                    <a:pt x="1615" y="1168"/>
                  </a:lnTo>
                  <a:lnTo>
                    <a:pt x="1617" y="1110"/>
                  </a:lnTo>
                  <a:lnTo>
                    <a:pt x="1591" y="1079"/>
                  </a:lnTo>
                  <a:lnTo>
                    <a:pt x="1592" y="1050"/>
                  </a:lnTo>
                  <a:lnTo>
                    <a:pt x="1620" y="1052"/>
                  </a:lnTo>
                  <a:lnTo>
                    <a:pt x="1595" y="991"/>
                  </a:lnTo>
                  <a:lnTo>
                    <a:pt x="1599" y="932"/>
                  </a:lnTo>
                  <a:lnTo>
                    <a:pt x="1630" y="876"/>
                  </a:lnTo>
                  <a:lnTo>
                    <a:pt x="1659" y="848"/>
                  </a:lnTo>
                  <a:lnTo>
                    <a:pt x="1631" y="846"/>
                  </a:lnTo>
                  <a:lnTo>
                    <a:pt x="1578" y="785"/>
                  </a:lnTo>
                  <a:lnTo>
                    <a:pt x="1552" y="755"/>
                  </a:lnTo>
                  <a:lnTo>
                    <a:pt x="1553" y="725"/>
                  </a:lnTo>
                  <a:lnTo>
                    <a:pt x="1584" y="668"/>
                  </a:lnTo>
                  <a:lnTo>
                    <a:pt x="1448" y="602"/>
                  </a:lnTo>
                  <a:lnTo>
                    <a:pt x="1364" y="598"/>
                  </a:lnTo>
                  <a:lnTo>
                    <a:pt x="1333" y="625"/>
                  </a:lnTo>
                  <a:lnTo>
                    <a:pt x="1278" y="623"/>
                  </a:lnTo>
                  <a:lnTo>
                    <a:pt x="1222" y="621"/>
                  </a:lnTo>
                  <a:lnTo>
                    <a:pt x="1169" y="559"/>
                  </a:lnTo>
                  <a:lnTo>
                    <a:pt x="1112" y="556"/>
                  </a:lnTo>
                  <a:lnTo>
                    <a:pt x="1061" y="465"/>
                  </a:lnTo>
                  <a:lnTo>
                    <a:pt x="1033" y="463"/>
                  </a:lnTo>
                  <a:lnTo>
                    <a:pt x="975" y="490"/>
                  </a:lnTo>
                  <a:lnTo>
                    <a:pt x="921" y="457"/>
                  </a:lnTo>
                  <a:lnTo>
                    <a:pt x="922" y="428"/>
                  </a:lnTo>
                  <a:lnTo>
                    <a:pt x="895" y="427"/>
                  </a:lnTo>
                  <a:lnTo>
                    <a:pt x="785" y="363"/>
                  </a:lnTo>
                  <a:lnTo>
                    <a:pt x="763" y="273"/>
                  </a:lnTo>
                  <a:lnTo>
                    <a:pt x="738" y="214"/>
                  </a:lnTo>
                  <a:lnTo>
                    <a:pt x="741" y="154"/>
                  </a:lnTo>
                  <a:lnTo>
                    <a:pt x="687" y="94"/>
                  </a:lnTo>
                  <a:lnTo>
                    <a:pt x="688" y="64"/>
                  </a:lnTo>
                  <a:lnTo>
                    <a:pt x="634" y="32"/>
                  </a:lnTo>
                  <a:lnTo>
                    <a:pt x="636" y="4"/>
                  </a:lnTo>
                  <a:lnTo>
                    <a:pt x="580" y="0"/>
                  </a:lnTo>
                  <a:lnTo>
                    <a:pt x="494" y="25"/>
                  </a:lnTo>
                  <a:lnTo>
                    <a:pt x="465" y="52"/>
                  </a:lnTo>
                  <a:lnTo>
                    <a:pt x="380" y="48"/>
                  </a:lnTo>
                  <a:lnTo>
                    <a:pt x="408" y="50"/>
                  </a:lnTo>
                  <a:lnTo>
                    <a:pt x="380" y="48"/>
                  </a:lnTo>
                  <a:lnTo>
                    <a:pt x="351" y="76"/>
                  </a:lnTo>
                  <a:lnTo>
                    <a:pt x="320" y="133"/>
                  </a:lnTo>
                  <a:lnTo>
                    <a:pt x="291" y="131"/>
                  </a:lnTo>
                  <a:lnTo>
                    <a:pt x="262" y="160"/>
                  </a:lnTo>
                  <a:lnTo>
                    <a:pt x="233" y="188"/>
                  </a:lnTo>
                  <a:lnTo>
                    <a:pt x="118" y="210"/>
                  </a:lnTo>
                  <a:lnTo>
                    <a:pt x="117" y="240"/>
                  </a:lnTo>
                  <a:lnTo>
                    <a:pt x="33" y="235"/>
                  </a:lnTo>
                  <a:lnTo>
                    <a:pt x="0" y="322"/>
                  </a:lnTo>
                  <a:lnTo>
                    <a:pt x="86" y="297"/>
                  </a:lnTo>
                  <a:lnTo>
                    <a:pt x="170" y="301"/>
                  </a:lnTo>
                  <a:lnTo>
                    <a:pt x="199" y="273"/>
                  </a:lnTo>
                  <a:lnTo>
                    <a:pt x="202" y="244"/>
                  </a:lnTo>
                  <a:lnTo>
                    <a:pt x="173" y="243"/>
                  </a:lnTo>
                  <a:lnTo>
                    <a:pt x="203" y="216"/>
                  </a:lnTo>
                  <a:lnTo>
                    <a:pt x="257" y="247"/>
                  </a:lnTo>
                  <a:lnTo>
                    <a:pt x="256" y="277"/>
                  </a:lnTo>
                  <a:lnTo>
                    <a:pt x="338" y="310"/>
                  </a:lnTo>
                  <a:lnTo>
                    <a:pt x="366" y="312"/>
                  </a:lnTo>
                  <a:lnTo>
                    <a:pt x="397" y="284"/>
                  </a:lnTo>
                  <a:lnTo>
                    <a:pt x="479" y="317"/>
                  </a:lnTo>
                  <a:lnTo>
                    <a:pt x="476" y="375"/>
                  </a:lnTo>
                  <a:lnTo>
                    <a:pt x="530" y="409"/>
                  </a:lnTo>
                  <a:lnTo>
                    <a:pt x="529" y="437"/>
                  </a:lnTo>
                  <a:lnTo>
                    <a:pt x="585" y="440"/>
                  </a:lnTo>
                  <a:lnTo>
                    <a:pt x="609" y="499"/>
                  </a:lnTo>
                  <a:lnTo>
                    <a:pt x="662" y="561"/>
                  </a:lnTo>
                  <a:lnTo>
                    <a:pt x="718" y="564"/>
                  </a:lnTo>
                  <a:lnTo>
                    <a:pt x="715" y="623"/>
                  </a:lnTo>
                  <a:lnTo>
                    <a:pt x="797" y="656"/>
                  </a:lnTo>
                  <a:lnTo>
                    <a:pt x="796" y="686"/>
                  </a:lnTo>
                  <a:lnTo>
                    <a:pt x="795" y="715"/>
                  </a:lnTo>
                  <a:lnTo>
                    <a:pt x="905" y="750"/>
                  </a:lnTo>
                  <a:lnTo>
                    <a:pt x="933" y="781"/>
                  </a:lnTo>
                  <a:lnTo>
                    <a:pt x="955" y="870"/>
                  </a:lnTo>
                  <a:lnTo>
                    <a:pt x="926" y="898"/>
                  </a:lnTo>
                  <a:lnTo>
                    <a:pt x="924" y="927"/>
                  </a:lnTo>
                  <a:lnTo>
                    <a:pt x="895" y="954"/>
                  </a:lnTo>
                  <a:lnTo>
                    <a:pt x="974" y="1047"/>
                  </a:lnTo>
                  <a:lnTo>
                    <a:pt x="1031" y="1020"/>
                  </a:lnTo>
                  <a:lnTo>
                    <a:pt x="1114" y="1054"/>
                  </a:lnTo>
                  <a:lnTo>
                    <a:pt x="1170" y="1057"/>
                  </a:lnTo>
                  <a:lnTo>
                    <a:pt x="1225" y="1088"/>
                  </a:lnTo>
                  <a:lnTo>
                    <a:pt x="1309" y="1094"/>
                  </a:lnTo>
                  <a:lnTo>
                    <a:pt x="1367" y="1067"/>
                  </a:lnTo>
                  <a:lnTo>
                    <a:pt x="1423" y="1070"/>
                  </a:lnTo>
                  <a:lnTo>
                    <a:pt x="1390" y="1157"/>
                  </a:lnTo>
                  <a:lnTo>
                    <a:pt x="1388" y="1186"/>
                  </a:lnTo>
                  <a:lnTo>
                    <a:pt x="1473" y="1190"/>
                  </a:lnTo>
                  <a:lnTo>
                    <a:pt x="1499" y="1220"/>
                  </a:lnTo>
                  <a:lnTo>
                    <a:pt x="1470" y="1247"/>
                  </a:lnTo>
                  <a:lnTo>
                    <a:pt x="1495" y="1309"/>
                  </a:lnTo>
                  <a:lnTo>
                    <a:pt x="1526" y="1251"/>
                  </a:lnTo>
                  <a:lnTo>
                    <a:pt x="1552" y="1282"/>
                  </a:lnTo>
                  <a:lnTo>
                    <a:pt x="1522" y="1309"/>
                  </a:lnTo>
                  <a:lnTo>
                    <a:pt x="1493" y="1337"/>
                  </a:lnTo>
                  <a:lnTo>
                    <a:pt x="1491" y="1367"/>
                  </a:lnTo>
                  <a:lnTo>
                    <a:pt x="1549" y="1341"/>
                  </a:lnTo>
                  <a:lnTo>
                    <a:pt x="1575" y="1371"/>
                  </a:lnTo>
                  <a:lnTo>
                    <a:pt x="1600" y="1460"/>
                  </a:lnTo>
                  <a:lnTo>
                    <a:pt x="1541" y="1487"/>
                  </a:lnTo>
                  <a:lnTo>
                    <a:pt x="1540" y="1516"/>
                  </a:lnTo>
                  <a:lnTo>
                    <a:pt x="1568" y="1518"/>
                  </a:lnTo>
                  <a:lnTo>
                    <a:pt x="1566" y="1546"/>
                  </a:lnTo>
                  <a:lnTo>
                    <a:pt x="1622" y="1549"/>
                  </a:lnTo>
                  <a:lnTo>
                    <a:pt x="1701" y="1641"/>
                  </a:lnTo>
                  <a:lnTo>
                    <a:pt x="1700" y="1671"/>
                  </a:lnTo>
                  <a:lnTo>
                    <a:pt x="1698" y="1700"/>
                  </a:lnTo>
                  <a:lnTo>
                    <a:pt x="1726" y="1702"/>
                  </a:lnTo>
                  <a:lnTo>
                    <a:pt x="1752" y="1762"/>
                  </a:lnTo>
                  <a:lnTo>
                    <a:pt x="1780" y="1764"/>
                  </a:lnTo>
                  <a:lnTo>
                    <a:pt x="1809" y="1736"/>
                  </a:lnTo>
                  <a:lnTo>
                    <a:pt x="1780" y="1733"/>
                  </a:lnTo>
                  <a:close/>
                </a:path>
              </a:pathLst>
            </a:custGeom>
            <a:solidFill>
              <a:srgbClr val="B2C2D1"/>
            </a:solidFill>
            <a:ln w="9525">
              <a:noFill/>
              <a:round/>
              <a:headEnd/>
              <a:tailEnd/>
            </a:ln>
          </p:spPr>
          <p:txBody>
            <a:bodyPr/>
            <a:lstStyle/>
            <a:p>
              <a:endParaRPr lang="el-GR"/>
            </a:p>
          </p:txBody>
        </p:sp>
        <p:sp>
          <p:nvSpPr>
            <p:cNvPr id="285" name="Freeform 162"/>
            <p:cNvSpPr>
              <a:spLocks/>
            </p:cNvSpPr>
            <p:nvPr/>
          </p:nvSpPr>
          <p:spPr bwMode="auto">
            <a:xfrm>
              <a:off x="2656" y="1786"/>
              <a:ext cx="488" cy="428"/>
            </a:xfrm>
            <a:custGeom>
              <a:avLst/>
              <a:gdLst>
                <a:gd name="T0" fmla="*/ 106 w 2048"/>
                <a:gd name="T1" fmla="*/ 97 h 1799"/>
                <a:gd name="T2" fmla="*/ 107 w 2048"/>
                <a:gd name="T3" fmla="*/ 102 h 1799"/>
                <a:gd name="T4" fmla="*/ 112 w 2048"/>
                <a:gd name="T5" fmla="*/ 99 h 1799"/>
                <a:gd name="T6" fmla="*/ 114 w 2048"/>
                <a:gd name="T7" fmla="*/ 94 h 1799"/>
                <a:gd name="T8" fmla="*/ 114 w 2048"/>
                <a:gd name="T9" fmla="*/ 89 h 1799"/>
                <a:gd name="T10" fmla="*/ 113 w 2048"/>
                <a:gd name="T11" fmla="*/ 84 h 1799"/>
                <a:gd name="T12" fmla="*/ 104 w 2048"/>
                <a:gd name="T13" fmla="*/ 82 h 1799"/>
                <a:gd name="T14" fmla="*/ 99 w 2048"/>
                <a:gd name="T15" fmla="*/ 80 h 1799"/>
                <a:gd name="T16" fmla="*/ 93 w 2048"/>
                <a:gd name="T17" fmla="*/ 74 h 1799"/>
                <a:gd name="T18" fmla="*/ 95 w 2048"/>
                <a:gd name="T19" fmla="*/ 69 h 1799"/>
                <a:gd name="T20" fmla="*/ 90 w 2048"/>
                <a:gd name="T21" fmla="*/ 61 h 1799"/>
                <a:gd name="T22" fmla="*/ 91 w 2048"/>
                <a:gd name="T23" fmla="*/ 56 h 1799"/>
                <a:gd name="T24" fmla="*/ 94 w 2048"/>
                <a:gd name="T25" fmla="*/ 48 h 1799"/>
                <a:gd name="T26" fmla="*/ 88 w 2048"/>
                <a:gd name="T27" fmla="*/ 43 h 1799"/>
                <a:gd name="T28" fmla="*/ 82 w 2048"/>
                <a:gd name="T29" fmla="*/ 34 h 1799"/>
                <a:gd name="T30" fmla="*/ 73 w 2048"/>
                <a:gd name="T31" fmla="*/ 35 h 1799"/>
                <a:gd name="T32" fmla="*/ 63 w 2048"/>
                <a:gd name="T33" fmla="*/ 31 h 1799"/>
                <a:gd name="T34" fmla="*/ 55 w 2048"/>
                <a:gd name="T35" fmla="*/ 28 h 1799"/>
                <a:gd name="T36" fmla="*/ 51 w 2048"/>
                <a:gd name="T37" fmla="*/ 24 h 1799"/>
                <a:gd name="T38" fmla="*/ 42 w 2048"/>
                <a:gd name="T39" fmla="*/ 12 h 1799"/>
                <a:gd name="T40" fmla="*/ 39 w 2048"/>
                <a:gd name="T41" fmla="*/ 4 h 1799"/>
                <a:gd name="T42" fmla="*/ 33 w 2048"/>
                <a:gd name="T43" fmla="*/ 0 h 1799"/>
                <a:gd name="T44" fmla="*/ 22 w 2048"/>
                <a:gd name="T45" fmla="*/ 3 h 1799"/>
                <a:gd name="T46" fmla="*/ 20 w 2048"/>
                <a:gd name="T47" fmla="*/ 4 h 1799"/>
                <a:gd name="T48" fmla="*/ 15 w 2048"/>
                <a:gd name="T49" fmla="*/ 9 h 1799"/>
                <a:gd name="T50" fmla="*/ 7 w 2048"/>
                <a:gd name="T51" fmla="*/ 14 h 1799"/>
                <a:gd name="T52" fmla="*/ 5 w 2048"/>
                <a:gd name="T53" fmla="*/ 17 h 1799"/>
                <a:gd name="T54" fmla="*/ 11 w 2048"/>
                <a:gd name="T55" fmla="*/ 14 h 1799"/>
                <a:gd name="T56" fmla="*/ 15 w 2048"/>
                <a:gd name="T57" fmla="*/ 14 h 1799"/>
                <a:gd name="T58" fmla="*/ 21 w 2048"/>
                <a:gd name="T59" fmla="*/ 18 h 1799"/>
                <a:gd name="T60" fmla="*/ 27 w 2048"/>
                <a:gd name="T61" fmla="*/ 21 h 1799"/>
                <a:gd name="T62" fmla="*/ 33 w 2048"/>
                <a:gd name="T63" fmla="*/ 25 h 1799"/>
                <a:gd name="T64" fmla="*/ 41 w 2048"/>
                <a:gd name="T65" fmla="*/ 32 h 1799"/>
                <a:gd name="T66" fmla="*/ 45 w 2048"/>
                <a:gd name="T67" fmla="*/ 39 h 1799"/>
                <a:gd name="T68" fmla="*/ 53 w 2048"/>
                <a:gd name="T69" fmla="*/ 44 h 1799"/>
                <a:gd name="T70" fmla="*/ 52 w 2048"/>
                <a:gd name="T71" fmla="*/ 53 h 1799"/>
                <a:gd name="T72" fmla="*/ 59 w 2048"/>
                <a:gd name="T73" fmla="*/ 58 h 1799"/>
                <a:gd name="T74" fmla="*/ 70 w 2048"/>
                <a:gd name="T75" fmla="*/ 62 h 1799"/>
                <a:gd name="T76" fmla="*/ 81 w 2048"/>
                <a:gd name="T77" fmla="*/ 61 h 1799"/>
                <a:gd name="T78" fmla="*/ 84 w 2048"/>
                <a:gd name="T79" fmla="*/ 67 h 1799"/>
                <a:gd name="T80" fmla="*/ 85 w 2048"/>
                <a:gd name="T81" fmla="*/ 74 h 1799"/>
                <a:gd name="T82" fmla="*/ 86 w 2048"/>
                <a:gd name="T83" fmla="*/ 74 h 1799"/>
                <a:gd name="T84" fmla="*/ 88 w 2048"/>
                <a:gd name="T85" fmla="*/ 76 h 1799"/>
                <a:gd name="T86" fmla="*/ 87 w 2048"/>
                <a:gd name="T87" fmla="*/ 84 h 1799"/>
                <a:gd name="T88" fmla="*/ 89 w 2048"/>
                <a:gd name="T89" fmla="*/ 88 h 1799"/>
                <a:gd name="T90" fmla="*/ 97 w 2048"/>
                <a:gd name="T91" fmla="*/ 95 h 1799"/>
                <a:gd name="T92" fmla="*/ 99 w 2048"/>
                <a:gd name="T93" fmla="*/ 100 h 1799"/>
                <a:gd name="T94" fmla="*/ 101 w 2048"/>
                <a:gd name="T95" fmla="*/ 98 h 179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48"/>
                <a:gd name="T145" fmla="*/ 0 h 1799"/>
                <a:gd name="T146" fmla="*/ 2048 w 2048"/>
                <a:gd name="T147" fmla="*/ 1799 h 179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48" h="1799">
                  <a:moveTo>
                    <a:pt x="1780" y="1733"/>
                  </a:moveTo>
                  <a:lnTo>
                    <a:pt x="1811" y="1705"/>
                  </a:lnTo>
                  <a:lnTo>
                    <a:pt x="1867" y="1709"/>
                  </a:lnTo>
                  <a:lnTo>
                    <a:pt x="1893" y="1739"/>
                  </a:lnTo>
                  <a:lnTo>
                    <a:pt x="1892" y="1768"/>
                  </a:lnTo>
                  <a:lnTo>
                    <a:pt x="1890" y="1798"/>
                  </a:lnTo>
                  <a:lnTo>
                    <a:pt x="1918" y="1799"/>
                  </a:lnTo>
                  <a:lnTo>
                    <a:pt x="1947" y="1771"/>
                  </a:lnTo>
                  <a:lnTo>
                    <a:pt x="1978" y="1744"/>
                  </a:lnTo>
                  <a:lnTo>
                    <a:pt x="2007" y="1716"/>
                  </a:lnTo>
                  <a:lnTo>
                    <a:pt x="2009" y="1687"/>
                  </a:lnTo>
                  <a:lnTo>
                    <a:pt x="2011" y="1658"/>
                  </a:lnTo>
                  <a:lnTo>
                    <a:pt x="2040" y="1630"/>
                  </a:lnTo>
                  <a:lnTo>
                    <a:pt x="2013" y="1599"/>
                  </a:lnTo>
                  <a:lnTo>
                    <a:pt x="2014" y="1570"/>
                  </a:lnTo>
                  <a:lnTo>
                    <a:pt x="2016" y="1541"/>
                  </a:lnTo>
                  <a:lnTo>
                    <a:pt x="2048" y="1483"/>
                  </a:lnTo>
                  <a:lnTo>
                    <a:pt x="1992" y="1481"/>
                  </a:lnTo>
                  <a:lnTo>
                    <a:pt x="1935" y="1478"/>
                  </a:lnTo>
                  <a:lnTo>
                    <a:pt x="1879" y="1475"/>
                  </a:lnTo>
                  <a:lnTo>
                    <a:pt x="1825" y="1443"/>
                  </a:lnTo>
                  <a:lnTo>
                    <a:pt x="1739" y="1468"/>
                  </a:lnTo>
                  <a:lnTo>
                    <a:pt x="1740" y="1438"/>
                  </a:lnTo>
                  <a:lnTo>
                    <a:pt x="1741" y="1409"/>
                  </a:lnTo>
                  <a:lnTo>
                    <a:pt x="1713" y="1408"/>
                  </a:lnTo>
                  <a:lnTo>
                    <a:pt x="1659" y="1375"/>
                  </a:lnTo>
                  <a:lnTo>
                    <a:pt x="1634" y="1316"/>
                  </a:lnTo>
                  <a:lnTo>
                    <a:pt x="1662" y="1317"/>
                  </a:lnTo>
                  <a:lnTo>
                    <a:pt x="1637" y="1257"/>
                  </a:lnTo>
                  <a:lnTo>
                    <a:pt x="1668" y="1229"/>
                  </a:lnTo>
                  <a:lnTo>
                    <a:pt x="1615" y="1168"/>
                  </a:lnTo>
                  <a:lnTo>
                    <a:pt x="1617" y="1110"/>
                  </a:lnTo>
                  <a:lnTo>
                    <a:pt x="1591" y="1079"/>
                  </a:lnTo>
                  <a:lnTo>
                    <a:pt x="1592" y="1050"/>
                  </a:lnTo>
                  <a:lnTo>
                    <a:pt x="1620" y="1052"/>
                  </a:lnTo>
                  <a:lnTo>
                    <a:pt x="1595" y="991"/>
                  </a:lnTo>
                  <a:lnTo>
                    <a:pt x="1599" y="932"/>
                  </a:lnTo>
                  <a:lnTo>
                    <a:pt x="1630" y="876"/>
                  </a:lnTo>
                  <a:lnTo>
                    <a:pt x="1659" y="848"/>
                  </a:lnTo>
                  <a:lnTo>
                    <a:pt x="1631" y="846"/>
                  </a:lnTo>
                  <a:lnTo>
                    <a:pt x="1578" y="785"/>
                  </a:lnTo>
                  <a:lnTo>
                    <a:pt x="1552" y="755"/>
                  </a:lnTo>
                  <a:lnTo>
                    <a:pt x="1553" y="725"/>
                  </a:lnTo>
                  <a:lnTo>
                    <a:pt x="1584" y="668"/>
                  </a:lnTo>
                  <a:lnTo>
                    <a:pt x="1448" y="602"/>
                  </a:lnTo>
                  <a:lnTo>
                    <a:pt x="1364" y="598"/>
                  </a:lnTo>
                  <a:lnTo>
                    <a:pt x="1333" y="625"/>
                  </a:lnTo>
                  <a:lnTo>
                    <a:pt x="1278" y="623"/>
                  </a:lnTo>
                  <a:lnTo>
                    <a:pt x="1222" y="621"/>
                  </a:lnTo>
                  <a:lnTo>
                    <a:pt x="1169" y="559"/>
                  </a:lnTo>
                  <a:lnTo>
                    <a:pt x="1112" y="556"/>
                  </a:lnTo>
                  <a:lnTo>
                    <a:pt x="1061" y="465"/>
                  </a:lnTo>
                  <a:lnTo>
                    <a:pt x="1033" y="463"/>
                  </a:lnTo>
                  <a:lnTo>
                    <a:pt x="975" y="490"/>
                  </a:lnTo>
                  <a:lnTo>
                    <a:pt x="921" y="457"/>
                  </a:lnTo>
                  <a:lnTo>
                    <a:pt x="922" y="428"/>
                  </a:lnTo>
                  <a:lnTo>
                    <a:pt x="895" y="427"/>
                  </a:lnTo>
                  <a:lnTo>
                    <a:pt x="785" y="363"/>
                  </a:lnTo>
                  <a:lnTo>
                    <a:pt x="763" y="273"/>
                  </a:lnTo>
                  <a:lnTo>
                    <a:pt x="738" y="214"/>
                  </a:lnTo>
                  <a:lnTo>
                    <a:pt x="741" y="154"/>
                  </a:lnTo>
                  <a:lnTo>
                    <a:pt x="687" y="94"/>
                  </a:lnTo>
                  <a:lnTo>
                    <a:pt x="688" y="64"/>
                  </a:lnTo>
                  <a:lnTo>
                    <a:pt x="634" y="32"/>
                  </a:lnTo>
                  <a:lnTo>
                    <a:pt x="636" y="4"/>
                  </a:lnTo>
                  <a:lnTo>
                    <a:pt x="580" y="0"/>
                  </a:lnTo>
                  <a:lnTo>
                    <a:pt x="494" y="25"/>
                  </a:lnTo>
                  <a:lnTo>
                    <a:pt x="465" y="52"/>
                  </a:lnTo>
                  <a:lnTo>
                    <a:pt x="380" y="48"/>
                  </a:lnTo>
                  <a:lnTo>
                    <a:pt x="408" y="50"/>
                  </a:lnTo>
                  <a:lnTo>
                    <a:pt x="380" y="48"/>
                  </a:lnTo>
                  <a:lnTo>
                    <a:pt x="351" y="76"/>
                  </a:lnTo>
                  <a:lnTo>
                    <a:pt x="320" y="133"/>
                  </a:lnTo>
                  <a:lnTo>
                    <a:pt x="291" y="131"/>
                  </a:lnTo>
                  <a:lnTo>
                    <a:pt x="262" y="160"/>
                  </a:lnTo>
                  <a:lnTo>
                    <a:pt x="233" y="188"/>
                  </a:lnTo>
                  <a:lnTo>
                    <a:pt x="118" y="210"/>
                  </a:lnTo>
                  <a:lnTo>
                    <a:pt x="117" y="240"/>
                  </a:lnTo>
                  <a:lnTo>
                    <a:pt x="33" y="235"/>
                  </a:lnTo>
                  <a:lnTo>
                    <a:pt x="0" y="322"/>
                  </a:lnTo>
                  <a:lnTo>
                    <a:pt x="86" y="297"/>
                  </a:lnTo>
                  <a:lnTo>
                    <a:pt x="170" y="301"/>
                  </a:lnTo>
                  <a:lnTo>
                    <a:pt x="199" y="273"/>
                  </a:lnTo>
                  <a:lnTo>
                    <a:pt x="202" y="244"/>
                  </a:lnTo>
                  <a:lnTo>
                    <a:pt x="173" y="243"/>
                  </a:lnTo>
                  <a:lnTo>
                    <a:pt x="203" y="216"/>
                  </a:lnTo>
                  <a:lnTo>
                    <a:pt x="257" y="247"/>
                  </a:lnTo>
                  <a:lnTo>
                    <a:pt x="256" y="277"/>
                  </a:lnTo>
                  <a:lnTo>
                    <a:pt x="338" y="310"/>
                  </a:lnTo>
                  <a:lnTo>
                    <a:pt x="366" y="312"/>
                  </a:lnTo>
                  <a:lnTo>
                    <a:pt x="397" y="284"/>
                  </a:lnTo>
                  <a:lnTo>
                    <a:pt x="479" y="317"/>
                  </a:lnTo>
                  <a:lnTo>
                    <a:pt x="476" y="375"/>
                  </a:lnTo>
                  <a:lnTo>
                    <a:pt x="530" y="409"/>
                  </a:lnTo>
                  <a:lnTo>
                    <a:pt x="529" y="437"/>
                  </a:lnTo>
                  <a:lnTo>
                    <a:pt x="585" y="440"/>
                  </a:lnTo>
                  <a:lnTo>
                    <a:pt x="609" y="499"/>
                  </a:lnTo>
                  <a:lnTo>
                    <a:pt x="662" y="561"/>
                  </a:lnTo>
                  <a:lnTo>
                    <a:pt x="718" y="564"/>
                  </a:lnTo>
                  <a:lnTo>
                    <a:pt x="715" y="623"/>
                  </a:lnTo>
                  <a:lnTo>
                    <a:pt x="797" y="656"/>
                  </a:lnTo>
                  <a:lnTo>
                    <a:pt x="796" y="686"/>
                  </a:lnTo>
                  <a:lnTo>
                    <a:pt x="795" y="715"/>
                  </a:lnTo>
                  <a:lnTo>
                    <a:pt x="905" y="750"/>
                  </a:lnTo>
                  <a:lnTo>
                    <a:pt x="933" y="781"/>
                  </a:lnTo>
                  <a:lnTo>
                    <a:pt x="955" y="870"/>
                  </a:lnTo>
                  <a:lnTo>
                    <a:pt x="926" y="898"/>
                  </a:lnTo>
                  <a:lnTo>
                    <a:pt x="924" y="927"/>
                  </a:lnTo>
                  <a:lnTo>
                    <a:pt x="895" y="954"/>
                  </a:lnTo>
                  <a:lnTo>
                    <a:pt x="974" y="1047"/>
                  </a:lnTo>
                  <a:lnTo>
                    <a:pt x="1031" y="1020"/>
                  </a:lnTo>
                  <a:lnTo>
                    <a:pt x="1114" y="1054"/>
                  </a:lnTo>
                  <a:lnTo>
                    <a:pt x="1170" y="1057"/>
                  </a:lnTo>
                  <a:lnTo>
                    <a:pt x="1225" y="1088"/>
                  </a:lnTo>
                  <a:lnTo>
                    <a:pt x="1309" y="1094"/>
                  </a:lnTo>
                  <a:lnTo>
                    <a:pt x="1367" y="1067"/>
                  </a:lnTo>
                  <a:lnTo>
                    <a:pt x="1423" y="1070"/>
                  </a:lnTo>
                  <a:lnTo>
                    <a:pt x="1390" y="1157"/>
                  </a:lnTo>
                  <a:lnTo>
                    <a:pt x="1388" y="1186"/>
                  </a:lnTo>
                  <a:lnTo>
                    <a:pt x="1473" y="1190"/>
                  </a:lnTo>
                  <a:lnTo>
                    <a:pt x="1499" y="1220"/>
                  </a:lnTo>
                  <a:lnTo>
                    <a:pt x="1470" y="1247"/>
                  </a:lnTo>
                  <a:lnTo>
                    <a:pt x="1495" y="1309"/>
                  </a:lnTo>
                  <a:lnTo>
                    <a:pt x="1526" y="1251"/>
                  </a:lnTo>
                  <a:lnTo>
                    <a:pt x="1552" y="1282"/>
                  </a:lnTo>
                  <a:lnTo>
                    <a:pt x="1522" y="1309"/>
                  </a:lnTo>
                  <a:lnTo>
                    <a:pt x="1493" y="1337"/>
                  </a:lnTo>
                  <a:lnTo>
                    <a:pt x="1491" y="1367"/>
                  </a:lnTo>
                  <a:lnTo>
                    <a:pt x="1549" y="1341"/>
                  </a:lnTo>
                  <a:lnTo>
                    <a:pt x="1575" y="1371"/>
                  </a:lnTo>
                  <a:lnTo>
                    <a:pt x="1600" y="1460"/>
                  </a:lnTo>
                  <a:lnTo>
                    <a:pt x="1541" y="1487"/>
                  </a:lnTo>
                  <a:lnTo>
                    <a:pt x="1540" y="1516"/>
                  </a:lnTo>
                  <a:lnTo>
                    <a:pt x="1568" y="1518"/>
                  </a:lnTo>
                  <a:lnTo>
                    <a:pt x="1566" y="1546"/>
                  </a:lnTo>
                  <a:lnTo>
                    <a:pt x="1622" y="1549"/>
                  </a:lnTo>
                  <a:lnTo>
                    <a:pt x="1701" y="1641"/>
                  </a:lnTo>
                  <a:lnTo>
                    <a:pt x="1700" y="1671"/>
                  </a:lnTo>
                  <a:lnTo>
                    <a:pt x="1698" y="1700"/>
                  </a:lnTo>
                  <a:lnTo>
                    <a:pt x="1726" y="1702"/>
                  </a:lnTo>
                  <a:lnTo>
                    <a:pt x="1752" y="1762"/>
                  </a:lnTo>
                  <a:lnTo>
                    <a:pt x="1780" y="1764"/>
                  </a:lnTo>
                  <a:lnTo>
                    <a:pt x="1809" y="1736"/>
                  </a:lnTo>
                  <a:lnTo>
                    <a:pt x="1780" y="1733"/>
                  </a:lnTo>
                </a:path>
              </a:pathLst>
            </a:custGeom>
            <a:solidFill>
              <a:srgbClr val="B2C2D1"/>
            </a:solidFill>
            <a:ln w="9525">
              <a:noFill/>
              <a:round/>
              <a:headEnd/>
              <a:tailEnd/>
            </a:ln>
          </p:spPr>
          <p:txBody>
            <a:bodyPr/>
            <a:lstStyle/>
            <a:p>
              <a:endParaRPr lang="el-GR"/>
            </a:p>
          </p:txBody>
        </p:sp>
        <p:sp>
          <p:nvSpPr>
            <p:cNvPr id="286" name="Freeform 163"/>
            <p:cNvSpPr>
              <a:spLocks/>
            </p:cNvSpPr>
            <p:nvPr/>
          </p:nvSpPr>
          <p:spPr bwMode="auto">
            <a:xfrm>
              <a:off x="2131" y="2025"/>
              <a:ext cx="673" cy="754"/>
            </a:xfrm>
            <a:custGeom>
              <a:avLst/>
              <a:gdLst>
                <a:gd name="T0" fmla="*/ 103 w 2824"/>
                <a:gd name="T1" fmla="*/ 24 h 3166"/>
                <a:gd name="T2" fmla="*/ 120 w 2824"/>
                <a:gd name="T3" fmla="*/ 38 h 3166"/>
                <a:gd name="T4" fmla="*/ 132 w 2824"/>
                <a:gd name="T5" fmla="*/ 49 h 3166"/>
                <a:gd name="T6" fmla="*/ 138 w 2824"/>
                <a:gd name="T7" fmla="*/ 58 h 3166"/>
                <a:gd name="T8" fmla="*/ 139 w 2824"/>
                <a:gd name="T9" fmla="*/ 68 h 3166"/>
                <a:gd name="T10" fmla="*/ 153 w 2824"/>
                <a:gd name="T11" fmla="*/ 83 h 3166"/>
                <a:gd name="T12" fmla="*/ 152 w 2824"/>
                <a:gd name="T13" fmla="*/ 90 h 3166"/>
                <a:gd name="T14" fmla="*/ 144 w 2824"/>
                <a:gd name="T15" fmla="*/ 91 h 3166"/>
                <a:gd name="T16" fmla="*/ 139 w 2824"/>
                <a:gd name="T17" fmla="*/ 96 h 3166"/>
                <a:gd name="T18" fmla="*/ 134 w 2824"/>
                <a:gd name="T19" fmla="*/ 97 h 3166"/>
                <a:gd name="T20" fmla="*/ 132 w 2824"/>
                <a:gd name="T21" fmla="*/ 90 h 3166"/>
                <a:gd name="T22" fmla="*/ 129 w 2824"/>
                <a:gd name="T23" fmla="*/ 82 h 3166"/>
                <a:gd name="T24" fmla="*/ 115 w 2824"/>
                <a:gd name="T25" fmla="*/ 76 h 3166"/>
                <a:gd name="T26" fmla="*/ 110 w 2824"/>
                <a:gd name="T27" fmla="*/ 79 h 3166"/>
                <a:gd name="T28" fmla="*/ 109 w 2824"/>
                <a:gd name="T29" fmla="*/ 88 h 3166"/>
                <a:gd name="T30" fmla="*/ 114 w 2824"/>
                <a:gd name="T31" fmla="*/ 96 h 3166"/>
                <a:gd name="T32" fmla="*/ 118 w 2824"/>
                <a:gd name="T33" fmla="*/ 106 h 3166"/>
                <a:gd name="T34" fmla="*/ 122 w 2824"/>
                <a:gd name="T35" fmla="*/ 115 h 3166"/>
                <a:gd name="T36" fmla="*/ 125 w 2824"/>
                <a:gd name="T37" fmla="*/ 122 h 3166"/>
                <a:gd name="T38" fmla="*/ 126 w 2824"/>
                <a:gd name="T39" fmla="*/ 135 h 3166"/>
                <a:gd name="T40" fmla="*/ 128 w 2824"/>
                <a:gd name="T41" fmla="*/ 147 h 3166"/>
                <a:gd name="T42" fmla="*/ 125 w 2824"/>
                <a:gd name="T43" fmla="*/ 157 h 3166"/>
                <a:gd name="T44" fmla="*/ 131 w 2824"/>
                <a:gd name="T45" fmla="*/ 167 h 3166"/>
                <a:gd name="T46" fmla="*/ 130 w 2824"/>
                <a:gd name="T47" fmla="*/ 177 h 3166"/>
                <a:gd name="T48" fmla="*/ 121 w 2824"/>
                <a:gd name="T49" fmla="*/ 168 h 3166"/>
                <a:gd name="T50" fmla="*/ 115 w 2824"/>
                <a:gd name="T51" fmla="*/ 158 h 3166"/>
                <a:gd name="T52" fmla="*/ 109 w 2824"/>
                <a:gd name="T53" fmla="*/ 152 h 3166"/>
                <a:gd name="T54" fmla="*/ 102 w 2824"/>
                <a:gd name="T55" fmla="*/ 142 h 3166"/>
                <a:gd name="T56" fmla="*/ 90 w 2824"/>
                <a:gd name="T57" fmla="*/ 150 h 3166"/>
                <a:gd name="T58" fmla="*/ 90 w 2824"/>
                <a:gd name="T59" fmla="*/ 155 h 3166"/>
                <a:gd name="T60" fmla="*/ 87 w 2824"/>
                <a:gd name="T61" fmla="*/ 158 h 3166"/>
                <a:gd name="T62" fmla="*/ 87 w 2824"/>
                <a:gd name="T63" fmla="*/ 171 h 3166"/>
                <a:gd name="T64" fmla="*/ 87 w 2824"/>
                <a:gd name="T65" fmla="*/ 180 h 3166"/>
                <a:gd name="T66" fmla="*/ 78 w 2824"/>
                <a:gd name="T67" fmla="*/ 167 h 3166"/>
                <a:gd name="T68" fmla="*/ 80 w 2824"/>
                <a:gd name="T69" fmla="*/ 159 h 3166"/>
                <a:gd name="T70" fmla="*/ 80 w 2824"/>
                <a:gd name="T71" fmla="*/ 153 h 3166"/>
                <a:gd name="T72" fmla="*/ 74 w 2824"/>
                <a:gd name="T73" fmla="*/ 142 h 3166"/>
                <a:gd name="T74" fmla="*/ 67 w 2824"/>
                <a:gd name="T75" fmla="*/ 132 h 3166"/>
                <a:gd name="T76" fmla="*/ 61 w 2824"/>
                <a:gd name="T77" fmla="*/ 118 h 3166"/>
                <a:gd name="T78" fmla="*/ 52 w 2824"/>
                <a:gd name="T79" fmla="*/ 135 h 3166"/>
                <a:gd name="T80" fmla="*/ 47 w 2824"/>
                <a:gd name="T81" fmla="*/ 144 h 3166"/>
                <a:gd name="T82" fmla="*/ 43 w 2824"/>
                <a:gd name="T83" fmla="*/ 137 h 3166"/>
                <a:gd name="T84" fmla="*/ 35 w 2824"/>
                <a:gd name="T85" fmla="*/ 130 h 3166"/>
                <a:gd name="T86" fmla="*/ 32 w 2824"/>
                <a:gd name="T87" fmla="*/ 120 h 3166"/>
                <a:gd name="T88" fmla="*/ 27 w 2824"/>
                <a:gd name="T89" fmla="*/ 105 h 3166"/>
                <a:gd name="T90" fmla="*/ 39 w 2824"/>
                <a:gd name="T91" fmla="*/ 86 h 3166"/>
                <a:gd name="T92" fmla="*/ 32 w 2824"/>
                <a:gd name="T93" fmla="*/ 74 h 3166"/>
                <a:gd name="T94" fmla="*/ 18 w 2824"/>
                <a:gd name="T95" fmla="*/ 60 h 3166"/>
                <a:gd name="T96" fmla="*/ 15 w 2824"/>
                <a:gd name="T97" fmla="*/ 56 h 3166"/>
                <a:gd name="T98" fmla="*/ 8 w 2824"/>
                <a:gd name="T99" fmla="*/ 46 h 3166"/>
                <a:gd name="T100" fmla="*/ 3 w 2824"/>
                <a:gd name="T101" fmla="*/ 35 h 3166"/>
                <a:gd name="T102" fmla="*/ 14 w 2824"/>
                <a:gd name="T103" fmla="*/ 28 h 3166"/>
                <a:gd name="T104" fmla="*/ 20 w 2824"/>
                <a:gd name="T105" fmla="*/ 16 h 3166"/>
                <a:gd name="T106" fmla="*/ 24 w 2824"/>
                <a:gd name="T107" fmla="*/ 12 h 3166"/>
                <a:gd name="T108" fmla="*/ 35 w 2824"/>
                <a:gd name="T109" fmla="*/ 15 h 3166"/>
                <a:gd name="T110" fmla="*/ 45 w 2824"/>
                <a:gd name="T111" fmla="*/ 6 h 3166"/>
                <a:gd name="T112" fmla="*/ 55 w 2824"/>
                <a:gd name="T113" fmla="*/ 0 h 3166"/>
                <a:gd name="T114" fmla="*/ 69 w 2824"/>
                <a:gd name="T115" fmla="*/ 7 h 3166"/>
                <a:gd name="T116" fmla="*/ 84 w 2824"/>
                <a:gd name="T117" fmla="*/ 15 h 31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24"/>
                <a:gd name="T178" fmla="*/ 0 h 3166"/>
                <a:gd name="T179" fmla="*/ 2824 w 2824"/>
                <a:gd name="T180" fmla="*/ 3166 h 31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24" h="3166">
                  <a:moveTo>
                    <a:pt x="1512" y="292"/>
                  </a:moveTo>
                  <a:lnTo>
                    <a:pt x="1593" y="355"/>
                  </a:lnTo>
                  <a:lnTo>
                    <a:pt x="1678" y="361"/>
                  </a:lnTo>
                  <a:lnTo>
                    <a:pt x="1706" y="362"/>
                  </a:lnTo>
                  <a:lnTo>
                    <a:pt x="1759" y="423"/>
                  </a:lnTo>
                  <a:lnTo>
                    <a:pt x="1815" y="427"/>
                  </a:lnTo>
                  <a:lnTo>
                    <a:pt x="1870" y="458"/>
                  </a:lnTo>
                  <a:lnTo>
                    <a:pt x="1923" y="520"/>
                  </a:lnTo>
                  <a:lnTo>
                    <a:pt x="1977" y="551"/>
                  </a:lnTo>
                  <a:lnTo>
                    <a:pt x="2002" y="611"/>
                  </a:lnTo>
                  <a:lnTo>
                    <a:pt x="2057" y="644"/>
                  </a:lnTo>
                  <a:lnTo>
                    <a:pt x="2111" y="676"/>
                  </a:lnTo>
                  <a:lnTo>
                    <a:pt x="2166" y="708"/>
                  </a:lnTo>
                  <a:lnTo>
                    <a:pt x="2194" y="709"/>
                  </a:lnTo>
                  <a:lnTo>
                    <a:pt x="2276" y="772"/>
                  </a:lnTo>
                  <a:lnTo>
                    <a:pt x="2273" y="801"/>
                  </a:lnTo>
                  <a:lnTo>
                    <a:pt x="2270" y="860"/>
                  </a:lnTo>
                  <a:lnTo>
                    <a:pt x="2326" y="863"/>
                  </a:lnTo>
                  <a:lnTo>
                    <a:pt x="2355" y="864"/>
                  </a:lnTo>
                  <a:lnTo>
                    <a:pt x="2383" y="866"/>
                  </a:lnTo>
                  <a:lnTo>
                    <a:pt x="2437" y="897"/>
                  </a:lnTo>
                  <a:lnTo>
                    <a:pt x="2464" y="929"/>
                  </a:lnTo>
                  <a:lnTo>
                    <a:pt x="2460" y="987"/>
                  </a:lnTo>
                  <a:lnTo>
                    <a:pt x="2430" y="1015"/>
                  </a:lnTo>
                  <a:lnTo>
                    <a:pt x="2402" y="1013"/>
                  </a:lnTo>
                  <a:lnTo>
                    <a:pt x="2346" y="1010"/>
                  </a:lnTo>
                  <a:lnTo>
                    <a:pt x="2400" y="1043"/>
                  </a:lnTo>
                  <a:lnTo>
                    <a:pt x="2455" y="1075"/>
                  </a:lnTo>
                  <a:lnTo>
                    <a:pt x="2425" y="1131"/>
                  </a:lnTo>
                  <a:lnTo>
                    <a:pt x="2450" y="1192"/>
                  </a:lnTo>
                  <a:lnTo>
                    <a:pt x="2420" y="1220"/>
                  </a:lnTo>
                  <a:lnTo>
                    <a:pt x="2447" y="1249"/>
                  </a:lnTo>
                  <a:lnTo>
                    <a:pt x="2524" y="1372"/>
                  </a:lnTo>
                  <a:lnTo>
                    <a:pt x="2579" y="1404"/>
                  </a:lnTo>
                  <a:lnTo>
                    <a:pt x="2604" y="1464"/>
                  </a:lnTo>
                  <a:lnTo>
                    <a:pt x="2687" y="1468"/>
                  </a:lnTo>
                  <a:lnTo>
                    <a:pt x="2742" y="1500"/>
                  </a:lnTo>
                  <a:lnTo>
                    <a:pt x="2772" y="1472"/>
                  </a:lnTo>
                  <a:lnTo>
                    <a:pt x="2824" y="1563"/>
                  </a:lnTo>
                  <a:lnTo>
                    <a:pt x="2795" y="1561"/>
                  </a:lnTo>
                  <a:lnTo>
                    <a:pt x="2738" y="1588"/>
                  </a:lnTo>
                  <a:lnTo>
                    <a:pt x="2682" y="1585"/>
                  </a:lnTo>
                  <a:lnTo>
                    <a:pt x="2654" y="1583"/>
                  </a:lnTo>
                  <a:lnTo>
                    <a:pt x="2569" y="1579"/>
                  </a:lnTo>
                  <a:lnTo>
                    <a:pt x="2568" y="1608"/>
                  </a:lnTo>
                  <a:lnTo>
                    <a:pt x="2540" y="1606"/>
                  </a:lnTo>
                  <a:lnTo>
                    <a:pt x="2541" y="1578"/>
                  </a:lnTo>
                  <a:lnTo>
                    <a:pt x="2540" y="1606"/>
                  </a:lnTo>
                  <a:lnTo>
                    <a:pt x="2512" y="1605"/>
                  </a:lnTo>
                  <a:lnTo>
                    <a:pt x="2483" y="1604"/>
                  </a:lnTo>
                  <a:lnTo>
                    <a:pt x="2482" y="1632"/>
                  </a:lnTo>
                  <a:lnTo>
                    <a:pt x="2537" y="1666"/>
                  </a:lnTo>
                  <a:lnTo>
                    <a:pt x="2481" y="1663"/>
                  </a:lnTo>
                  <a:lnTo>
                    <a:pt x="2451" y="1691"/>
                  </a:lnTo>
                  <a:lnTo>
                    <a:pt x="2423" y="1689"/>
                  </a:lnTo>
                  <a:lnTo>
                    <a:pt x="2448" y="1748"/>
                  </a:lnTo>
                  <a:lnTo>
                    <a:pt x="2419" y="1776"/>
                  </a:lnTo>
                  <a:lnTo>
                    <a:pt x="2363" y="1744"/>
                  </a:lnTo>
                  <a:lnTo>
                    <a:pt x="2394" y="1716"/>
                  </a:lnTo>
                  <a:lnTo>
                    <a:pt x="2365" y="1716"/>
                  </a:lnTo>
                  <a:lnTo>
                    <a:pt x="2339" y="1684"/>
                  </a:lnTo>
                  <a:lnTo>
                    <a:pt x="2367" y="1686"/>
                  </a:lnTo>
                  <a:lnTo>
                    <a:pt x="2341" y="1654"/>
                  </a:lnTo>
                  <a:lnTo>
                    <a:pt x="2284" y="1652"/>
                  </a:lnTo>
                  <a:lnTo>
                    <a:pt x="2287" y="1594"/>
                  </a:lnTo>
                  <a:lnTo>
                    <a:pt x="2316" y="1595"/>
                  </a:lnTo>
                  <a:lnTo>
                    <a:pt x="2346" y="1568"/>
                  </a:lnTo>
                  <a:lnTo>
                    <a:pt x="2373" y="1569"/>
                  </a:lnTo>
                  <a:lnTo>
                    <a:pt x="2376" y="1510"/>
                  </a:lnTo>
                  <a:lnTo>
                    <a:pt x="2321" y="1479"/>
                  </a:lnTo>
                  <a:lnTo>
                    <a:pt x="2293" y="1477"/>
                  </a:lnTo>
                  <a:lnTo>
                    <a:pt x="2267" y="1445"/>
                  </a:lnTo>
                  <a:lnTo>
                    <a:pt x="2210" y="1472"/>
                  </a:lnTo>
                  <a:lnTo>
                    <a:pt x="2214" y="1385"/>
                  </a:lnTo>
                  <a:lnTo>
                    <a:pt x="2132" y="1351"/>
                  </a:lnTo>
                  <a:lnTo>
                    <a:pt x="2103" y="1349"/>
                  </a:lnTo>
                  <a:lnTo>
                    <a:pt x="2073" y="1377"/>
                  </a:lnTo>
                  <a:lnTo>
                    <a:pt x="2019" y="1346"/>
                  </a:lnTo>
                  <a:lnTo>
                    <a:pt x="1993" y="1314"/>
                  </a:lnTo>
                  <a:lnTo>
                    <a:pt x="1968" y="1255"/>
                  </a:lnTo>
                  <a:lnTo>
                    <a:pt x="1910" y="1281"/>
                  </a:lnTo>
                  <a:lnTo>
                    <a:pt x="1937" y="1311"/>
                  </a:lnTo>
                  <a:lnTo>
                    <a:pt x="1852" y="1308"/>
                  </a:lnTo>
                  <a:lnTo>
                    <a:pt x="1932" y="1399"/>
                  </a:lnTo>
                  <a:lnTo>
                    <a:pt x="1903" y="1427"/>
                  </a:lnTo>
                  <a:lnTo>
                    <a:pt x="1931" y="1429"/>
                  </a:lnTo>
                  <a:lnTo>
                    <a:pt x="1928" y="1486"/>
                  </a:lnTo>
                  <a:lnTo>
                    <a:pt x="1956" y="1489"/>
                  </a:lnTo>
                  <a:lnTo>
                    <a:pt x="1954" y="1518"/>
                  </a:lnTo>
                  <a:lnTo>
                    <a:pt x="1924" y="1545"/>
                  </a:lnTo>
                  <a:lnTo>
                    <a:pt x="1923" y="1575"/>
                  </a:lnTo>
                  <a:lnTo>
                    <a:pt x="1951" y="1576"/>
                  </a:lnTo>
                  <a:lnTo>
                    <a:pt x="1977" y="1606"/>
                  </a:lnTo>
                  <a:lnTo>
                    <a:pt x="1976" y="1636"/>
                  </a:lnTo>
                  <a:lnTo>
                    <a:pt x="1975" y="1666"/>
                  </a:lnTo>
                  <a:lnTo>
                    <a:pt x="2002" y="1696"/>
                  </a:lnTo>
                  <a:lnTo>
                    <a:pt x="2028" y="1727"/>
                  </a:lnTo>
                  <a:lnTo>
                    <a:pt x="2025" y="1756"/>
                  </a:lnTo>
                  <a:lnTo>
                    <a:pt x="2054" y="1757"/>
                  </a:lnTo>
                  <a:lnTo>
                    <a:pt x="2025" y="1756"/>
                  </a:lnTo>
                  <a:lnTo>
                    <a:pt x="2079" y="1816"/>
                  </a:lnTo>
                  <a:lnTo>
                    <a:pt x="2075" y="1875"/>
                  </a:lnTo>
                  <a:lnTo>
                    <a:pt x="2102" y="1906"/>
                  </a:lnTo>
                  <a:lnTo>
                    <a:pt x="2072" y="1934"/>
                  </a:lnTo>
                  <a:lnTo>
                    <a:pt x="2071" y="1963"/>
                  </a:lnTo>
                  <a:lnTo>
                    <a:pt x="2096" y="2023"/>
                  </a:lnTo>
                  <a:lnTo>
                    <a:pt x="2124" y="2024"/>
                  </a:lnTo>
                  <a:lnTo>
                    <a:pt x="2152" y="2026"/>
                  </a:lnTo>
                  <a:lnTo>
                    <a:pt x="2151" y="2056"/>
                  </a:lnTo>
                  <a:lnTo>
                    <a:pt x="2177" y="2086"/>
                  </a:lnTo>
                  <a:lnTo>
                    <a:pt x="2176" y="2115"/>
                  </a:lnTo>
                  <a:lnTo>
                    <a:pt x="2148" y="2114"/>
                  </a:lnTo>
                  <a:lnTo>
                    <a:pt x="2121" y="2084"/>
                  </a:lnTo>
                  <a:lnTo>
                    <a:pt x="2202" y="2146"/>
                  </a:lnTo>
                  <a:lnTo>
                    <a:pt x="2197" y="2233"/>
                  </a:lnTo>
                  <a:lnTo>
                    <a:pt x="2168" y="2232"/>
                  </a:lnTo>
                  <a:lnTo>
                    <a:pt x="2195" y="2264"/>
                  </a:lnTo>
                  <a:lnTo>
                    <a:pt x="2194" y="2293"/>
                  </a:lnTo>
                  <a:lnTo>
                    <a:pt x="2219" y="2352"/>
                  </a:lnTo>
                  <a:lnTo>
                    <a:pt x="2218" y="2382"/>
                  </a:lnTo>
                  <a:lnTo>
                    <a:pt x="2244" y="2413"/>
                  </a:lnTo>
                  <a:lnTo>
                    <a:pt x="2242" y="2441"/>
                  </a:lnTo>
                  <a:lnTo>
                    <a:pt x="2267" y="2502"/>
                  </a:lnTo>
                  <a:lnTo>
                    <a:pt x="2264" y="2560"/>
                  </a:lnTo>
                  <a:lnTo>
                    <a:pt x="2291" y="2590"/>
                  </a:lnTo>
                  <a:lnTo>
                    <a:pt x="2263" y="2588"/>
                  </a:lnTo>
                  <a:lnTo>
                    <a:pt x="2260" y="2648"/>
                  </a:lnTo>
                  <a:lnTo>
                    <a:pt x="2233" y="2616"/>
                  </a:lnTo>
                  <a:lnTo>
                    <a:pt x="2204" y="2645"/>
                  </a:lnTo>
                  <a:lnTo>
                    <a:pt x="2201" y="2703"/>
                  </a:lnTo>
                  <a:lnTo>
                    <a:pt x="2229" y="2704"/>
                  </a:lnTo>
                  <a:lnTo>
                    <a:pt x="2197" y="2761"/>
                  </a:lnTo>
                  <a:lnTo>
                    <a:pt x="2195" y="2791"/>
                  </a:lnTo>
                  <a:lnTo>
                    <a:pt x="2223" y="2822"/>
                  </a:lnTo>
                  <a:lnTo>
                    <a:pt x="2221" y="2850"/>
                  </a:lnTo>
                  <a:lnTo>
                    <a:pt x="2274" y="2912"/>
                  </a:lnTo>
                  <a:lnTo>
                    <a:pt x="2303" y="2913"/>
                  </a:lnTo>
                  <a:lnTo>
                    <a:pt x="2300" y="2943"/>
                  </a:lnTo>
                  <a:lnTo>
                    <a:pt x="2329" y="2944"/>
                  </a:lnTo>
                  <a:lnTo>
                    <a:pt x="2295" y="3030"/>
                  </a:lnTo>
                  <a:lnTo>
                    <a:pt x="2322" y="3061"/>
                  </a:lnTo>
                  <a:lnTo>
                    <a:pt x="2376" y="3093"/>
                  </a:lnTo>
                  <a:lnTo>
                    <a:pt x="2375" y="3123"/>
                  </a:lnTo>
                  <a:lnTo>
                    <a:pt x="2291" y="3118"/>
                  </a:lnTo>
                  <a:lnTo>
                    <a:pt x="2263" y="3116"/>
                  </a:lnTo>
                  <a:lnTo>
                    <a:pt x="2212" y="3027"/>
                  </a:lnTo>
                  <a:lnTo>
                    <a:pt x="2213" y="2996"/>
                  </a:lnTo>
                  <a:lnTo>
                    <a:pt x="2187" y="2966"/>
                  </a:lnTo>
                  <a:lnTo>
                    <a:pt x="2159" y="2965"/>
                  </a:lnTo>
                  <a:lnTo>
                    <a:pt x="2130" y="2963"/>
                  </a:lnTo>
                  <a:lnTo>
                    <a:pt x="2077" y="2902"/>
                  </a:lnTo>
                  <a:lnTo>
                    <a:pt x="2080" y="2872"/>
                  </a:lnTo>
                  <a:lnTo>
                    <a:pt x="2053" y="2842"/>
                  </a:lnTo>
                  <a:lnTo>
                    <a:pt x="2027" y="2811"/>
                  </a:lnTo>
                  <a:lnTo>
                    <a:pt x="1999" y="2781"/>
                  </a:lnTo>
                  <a:lnTo>
                    <a:pt x="2028" y="2782"/>
                  </a:lnTo>
                  <a:lnTo>
                    <a:pt x="2002" y="2722"/>
                  </a:lnTo>
                  <a:lnTo>
                    <a:pt x="1975" y="2721"/>
                  </a:lnTo>
                  <a:lnTo>
                    <a:pt x="1976" y="2691"/>
                  </a:lnTo>
                  <a:lnTo>
                    <a:pt x="1947" y="2719"/>
                  </a:lnTo>
                  <a:lnTo>
                    <a:pt x="1945" y="2747"/>
                  </a:lnTo>
                  <a:lnTo>
                    <a:pt x="1919" y="2688"/>
                  </a:lnTo>
                  <a:lnTo>
                    <a:pt x="1950" y="2661"/>
                  </a:lnTo>
                  <a:lnTo>
                    <a:pt x="1925" y="2600"/>
                  </a:lnTo>
                  <a:lnTo>
                    <a:pt x="1898" y="2570"/>
                  </a:lnTo>
                  <a:lnTo>
                    <a:pt x="1901" y="2511"/>
                  </a:lnTo>
                  <a:lnTo>
                    <a:pt x="1847" y="2479"/>
                  </a:lnTo>
                  <a:lnTo>
                    <a:pt x="1789" y="2506"/>
                  </a:lnTo>
                  <a:lnTo>
                    <a:pt x="1761" y="2504"/>
                  </a:lnTo>
                  <a:lnTo>
                    <a:pt x="1705" y="2502"/>
                  </a:lnTo>
                  <a:lnTo>
                    <a:pt x="1646" y="2557"/>
                  </a:lnTo>
                  <a:lnTo>
                    <a:pt x="1643" y="2615"/>
                  </a:lnTo>
                  <a:lnTo>
                    <a:pt x="1613" y="2643"/>
                  </a:lnTo>
                  <a:lnTo>
                    <a:pt x="1585" y="2641"/>
                  </a:lnTo>
                  <a:lnTo>
                    <a:pt x="1612" y="2673"/>
                  </a:lnTo>
                  <a:lnTo>
                    <a:pt x="1584" y="2672"/>
                  </a:lnTo>
                  <a:lnTo>
                    <a:pt x="1581" y="2700"/>
                  </a:lnTo>
                  <a:lnTo>
                    <a:pt x="1610" y="2701"/>
                  </a:lnTo>
                  <a:lnTo>
                    <a:pt x="1606" y="2760"/>
                  </a:lnTo>
                  <a:lnTo>
                    <a:pt x="1580" y="2729"/>
                  </a:lnTo>
                  <a:lnTo>
                    <a:pt x="1553" y="2699"/>
                  </a:lnTo>
                  <a:lnTo>
                    <a:pt x="1552" y="2728"/>
                  </a:lnTo>
                  <a:lnTo>
                    <a:pt x="1578" y="2787"/>
                  </a:lnTo>
                  <a:lnTo>
                    <a:pt x="1548" y="2816"/>
                  </a:lnTo>
                  <a:lnTo>
                    <a:pt x="1550" y="2786"/>
                  </a:lnTo>
                  <a:lnTo>
                    <a:pt x="1522" y="2784"/>
                  </a:lnTo>
                  <a:lnTo>
                    <a:pt x="1520" y="2814"/>
                  </a:lnTo>
                  <a:lnTo>
                    <a:pt x="1516" y="2872"/>
                  </a:lnTo>
                  <a:lnTo>
                    <a:pt x="1514" y="2902"/>
                  </a:lnTo>
                  <a:lnTo>
                    <a:pt x="1511" y="2961"/>
                  </a:lnTo>
                  <a:lnTo>
                    <a:pt x="1538" y="2991"/>
                  </a:lnTo>
                  <a:lnTo>
                    <a:pt x="1537" y="3020"/>
                  </a:lnTo>
                  <a:lnTo>
                    <a:pt x="1536" y="3049"/>
                  </a:lnTo>
                  <a:lnTo>
                    <a:pt x="1534" y="3080"/>
                  </a:lnTo>
                  <a:lnTo>
                    <a:pt x="1506" y="3078"/>
                  </a:lnTo>
                  <a:lnTo>
                    <a:pt x="1534" y="3080"/>
                  </a:lnTo>
                  <a:lnTo>
                    <a:pt x="1531" y="3137"/>
                  </a:lnTo>
                  <a:lnTo>
                    <a:pt x="1529" y="3166"/>
                  </a:lnTo>
                  <a:lnTo>
                    <a:pt x="1506" y="3078"/>
                  </a:lnTo>
                  <a:lnTo>
                    <a:pt x="1478" y="3076"/>
                  </a:lnTo>
                  <a:lnTo>
                    <a:pt x="1508" y="3048"/>
                  </a:lnTo>
                  <a:lnTo>
                    <a:pt x="1424" y="3015"/>
                  </a:lnTo>
                  <a:lnTo>
                    <a:pt x="1397" y="3013"/>
                  </a:lnTo>
                  <a:lnTo>
                    <a:pt x="1372" y="2953"/>
                  </a:lnTo>
                  <a:lnTo>
                    <a:pt x="1345" y="2922"/>
                  </a:lnTo>
                  <a:lnTo>
                    <a:pt x="1372" y="2924"/>
                  </a:lnTo>
                  <a:lnTo>
                    <a:pt x="1375" y="2895"/>
                  </a:lnTo>
                  <a:lnTo>
                    <a:pt x="1403" y="2896"/>
                  </a:lnTo>
                  <a:lnTo>
                    <a:pt x="1378" y="2836"/>
                  </a:lnTo>
                  <a:lnTo>
                    <a:pt x="1407" y="2809"/>
                  </a:lnTo>
                  <a:lnTo>
                    <a:pt x="1381" y="2778"/>
                  </a:lnTo>
                  <a:lnTo>
                    <a:pt x="1382" y="2747"/>
                  </a:lnTo>
                  <a:lnTo>
                    <a:pt x="1410" y="2750"/>
                  </a:lnTo>
                  <a:lnTo>
                    <a:pt x="1384" y="2719"/>
                  </a:lnTo>
                  <a:lnTo>
                    <a:pt x="1387" y="2690"/>
                  </a:lnTo>
                  <a:lnTo>
                    <a:pt x="1414" y="2691"/>
                  </a:lnTo>
                  <a:lnTo>
                    <a:pt x="1415" y="2662"/>
                  </a:lnTo>
                  <a:lnTo>
                    <a:pt x="1387" y="2661"/>
                  </a:lnTo>
                  <a:lnTo>
                    <a:pt x="1361" y="2629"/>
                  </a:lnTo>
                  <a:lnTo>
                    <a:pt x="1282" y="2538"/>
                  </a:lnTo>
                  <a:lnTo>
                    <a:pt x="1337" y="2541"/>
                  </a:lnTo>
                  <a:lnTo>
                    <a:pt x="1311" y="2510"/>
                  </a:lnTo>
                  <a:lnTo>
                    <a:pt x="1314" y="2452"/>
                  </a:lnTo>
                  <a:lnTo>
                    <a:pt x="1288" y="2420"/>
                  </a:lnTo>
                  <a:lnTo>
                    <a:pt x="1289" y="2391"/>
                  </a:lnTo>
                  <a:lnTo>
                    <a:pt x="1236" y="2330"/>
                  </a:lnTo>
                  <a:lnTo>
                    <a:pt x="1237" y="2301"/>
                  </a:lnTo>
                  <a:lnTo>
                    <a:pt x="1181" y="2327"/>
                  </a:lnTo>
                  <a:lnTo>
                    <a:pt x="1155" y="2268"/>
                  </a:lnTo>
                  <a:lnTo>
                    <a:pt x="1156" y="2239"/>
                  </a:lnTo>
                  <a:lnTo>
                    <a:pt x="1159" y="2180"/>
                  </a:lnTo>
                  <a:lnTo>
                    <a:pt x="1161" y="2150"/>
                  </a:lnTo>
                  <a:lnTo>
                    <a:pt x="1162" y="2122"/>
                  </a:lnTo>
                  <a:lnTo>
                    <a:pt x="1080" y="2087"/>
                  </a:lnTo>
                  <a:lnTo>
                    <a:pt x="964" y="2140"/>
                  </a:lnTo>
                  <a:lnTo>
                    <a:pt x="935" y="2168"/>
                  </a:lnTo>
                  <a:lnTo>
                    <a:pt x="933" y="2227"/>
                  </a:lnTo>
                  <a:lnTo>
                    <a:pt x="930" y="2285"/>
                  </a:lnTo>
                  <a:lnTo>
                    <a:pt x="927" y="2314"/>
                  </a:lnTo>
                  <a:lnTo>
                    <a:pt x="924" y="2373"/>
                  </a:lnTo>
                  <a:lnTo>
                    <a:pt x="921" y="2431"/>
                  </a:lnTo>
                  <a:lnTo>
                    <a:pt x="948" y="2462"/>
                  </a:lnTo>
                  <a:lnTo>
                    <a:pt x="920" y="2461"/>
                  </a:lnTo>
                  <a:lnTo>
                    <a:pt x="887" y="2547"/>
                  </a:lnTo>
                  <a:lnTo>
                    <a:pt x="859" y="2545"/>
                  </a:lnTo>
                  <a:lnTo>
                    <a:pt x="831" y="2544"/>
                  </a:lnTo>
                  <a:lnTo>
                    <a:pt x="829" y="2573"/>
                  </a:lnTo>
                  <a:lnTo>
                    <a:pt x="831" y="2544"/>
                  </a:lnTo>
                  <a:lnTo>
                    <a:pt x="804" y="2514"/>
                  </a:lnTo>
                  <a:lnTo>
                    <a:pt x="778" y="2482"/>
                  </a:lnTo>
                  <a:lnTo>
                    <a:pt x="780" y="2453"/>
                  </a:lnTo>
                  <a:lnTo>
                    <a:pt x="753" y="2423"/>
                  </a:lnTo>
                  <a:lnTo>
                    <a:pt x="724" y="2451"/>
                  </a:lnTo>
                  <a:lnTo>
                    <a:pt x="696" y="2449"/>
                  </a:lnTo>
                  <a:lnTo>
                    <a:pt x="668" y="2448"/>
                  </a:lnTo>
                  <a:lnTo>
                    <a:pt x="640" y="2416"/>
                  </a:lnTo>
                  <a:lnTo>
                    <a:pt x="614" y="2386"/>
                  </a:lnTo>
                  <a:lnTo>
                    <a:pt x="620" y="2298"/>
                  </a:lnTo>
                  <a:lnTo>
                    <a:pt x="622" y="2240"/>
                  </a:lnTo>
                  <a:lnTo>
                    <a:pt x="623" y="2210"/>
                  </a:lnTo>
                  <a:lnTo>
                    <a:pt x="595" y="2208"/>
                  </a:lnTo>
                  <a:lnTo>
                    <a:pt x="569" y="2178"/>
                  </a:lnTo>
                  <a:lnTo>
                    <a:pt x="570" y="2149"/>
                  </a:lnTo>
                  <a:lnTo>
                    <a:pt x="572" y="2121"/>
                  </a:lnTo>
                  <a:lnTo>
                    <a:pt x="546" y="2089"/>
                  </a:lnTo>
                  <a:lnTo>
                    <a:pt x="547" y="2060"/>
                  </a:lnTo>
                  <a:lnTo>
                    <a:pt x="493" y="2028"/>
                  </a:lnTo>
                  <a:lnTo>
                    <a:pt x="494" y="1998"/>
                  </a:lnTo>
                  <a:lnTo>
                    <a:pt x="496" y="1969"/>
                  </a:lnTo>
                  <a:lnTo>
                    <a:pt x="474" y="1851"/>
                  </a:lnTo>
                  <a:lnTo>
                    <a:pt x="535" y="1766"/>
                  </a:lnTo>
                  <a:lnTo>
                    <a:pt x="565" y="1739"/>
                  </a:lnTo>
                  <a:lnTo>
                    <a:pt x="623" y="1682"/>
                  </a:lnTo>
                  <a:lnTo>
                    <a:pt x="653" y="1654"/>
                  </a:lnTo>
                  <a:lnTo>
                    <a:pt x="579" y="1476"/>
                  </a:lnTo>
                  <a:lnTo>
                    <a:pt x="688" y="1510"/>
                  </a:lnTo>
                  <a:lnTo>
                    <a:pt x="799" y="1545"/>
                  </a:lnTo>
                  <a:lnTo>
                    <a:pt x="716" y="1511"/>
                  </a:lnTo>
                  <a:lnTo>
                    <a:pt x="579" y="1476"/>
                  </a:lnTo>
                  <a:lnTo>
                    <a:pt x="607" y="1447"/>
                  </a:lnTo>
                  <a:lnTo>
                    <a:pt x="611" y="1389"/>
                  </a:lnTo>
                  <a:lnTo>
                    <a:pt x="559" y="1298"/>
                  </a:lnTo>
                  <a:lnTo>
                    <a:pt x="533" y="1268"/>
                  </a:lnTo>
                  <a:lnTo>
                    <a:pt x="480" y="1206"/>
                  </a:lnTo>
                  <a:lnTo>
                    <a:pt x="398" y="1174"/>
                  </a:lnTo>
                  <a:lnTo>
                    <a:pt x="401" y="1114"/>
                  </a:lnTo>
                  <a:lnTo>
                    <a:pt x="347" y="1082"/>
                  </a:lnTo>
                  <a:lnTo>
                    <a:pt x="320" y="1052"/>
                  </a:lnTo>
                  <a:lnTo>
                    <a:pt x="292" y="1050"/>
                  </a:lnTo>
                  <a:lnTo>
                    <a:pt x="263" y="1077"/>
                  </a:lnTo>
                  <a:lnTo>
                    <a:pt x="260" y="1106"/>
                  </a:lnTo>
                  <a:lnTo>
                    <a:pt x="234" y="1077"/>
                  </a:lnTo>
                  <a:lnTo>
                    <a:pt x="238" y="1018"/>
                  </a:lnTo>
                  <a:lnTo>
                    <a:pt x="266" y="991"/>
                  </a:lnTo>
                  <a:lnTo>
                    <a:pt x="240" y="959"/>
                  </a:lnTo>
                  <a:lnTo>
                    <a:pt x="243" y="901"/>
                  </a:lnTo>
                  <a:lnTo>
                    <a:pt x="217" y="869"/>
                  </a:lnTo>
                  <a:lnTo>
                    <a:pt x="218" y="841"/>
                  </a:lnTo>
                  <a:lnTo>
                    <a:pt x="192" y="810"/>
                  </a:lnTo>
                  <a:lnTo>
                    <a:pt x="136" y="808"/>
                  </a:lnTo>
                  <a:lnTo>
                    <a:pt x="82" y="775"/>
                  </a:lnTo>
                  <a:lnTo>
                    <a:pt x="54" y="773"/>
                  </a:lnTo>
                  <a:lnTo>
                    <a:pt x="26" y="744"/>
                  </a:lnTo>
                  <a:lnTo>
                    <a:pt x="0" y="712"/>
                  </a:lnTo>
                  <a:lnTo>
                    <a:pt x="32" y="655"/>
                  </a:lnTo>
                  <a:lnTo>
                    <a:pt x="60" y="627"/>
                  </a:lnTo>
                  <a:lnTo>
                    <a:pt x="62" y="599"/>
                  </a:lnTo>
                  <a:lnTo>
                    <a:pt x="116" y="630"/>
                  </a:lnTo>
                  <a:lnTo>
                    <a:pt x="145" y="632"/>
                  </a:lnTo>
                  <a:lnTo>
                    <a:pt x="176" y="575"/>
                  </a:lnTo>
                  <a:lnTo>
                    <a:pt x="206" y="548"/>
                  </a:lnTo>
                  <a:lnTo>
                    <a:pt x="238" y="489"/>
                  </a:lnTo>
                  <a:lnTo>
                    <a:pt x="266" y="462"/>
                  </a:lnTo>
                  <a:lnTo>
                    <a:pt x="297" y="405"/>
                  </a:lnTo>
                  <a:lnTo>
                    <a:pt x="328" y="377"/>
                  </a:lnTo>
                  <a:lnTo>
                    <a:pt x="274" y="316"/>
                  </a:lnTo>
                  <a:lnTo>
                    <a:pt x="359" y="321"/>
                  </a:lnTo>
                  <a:lnTo>
                    <a:pt x="360" y="291"/>
                  </a:lnTo>
                  <a:lnTo>
                    <a:pt x="361" y="262"/>
                  </a:lnTo>
                  <a:lnTo>
                    <a:pt x="362" y="233"/>
                  </a:lnTo>
                  <a:lnTo>
                    <a:pt x="365" y="174"/>
                  </a:lnTo>
                  <a:lnTo>
                    <a:pt x="392" y="206"/>
                  </a:lnTo>
                  <a:lnTo>
                    <a:pt x="394" y="176"/>
                  </a:lnTo>
                  <a:lnTo>
                    <a:pt x="421" y="206"/>
                  </a:lnTo>
                  <a:lnTo>
                    <a:pt x="450" y="179"/>
                  </a:lnTo>
                  <a:lnTo>
                    <a:pt x="477" y="209"/>
                  </a:lnTo>
                  <a:lnTo>
                    <a:pt x="503" y="240"/>
                  </a:lnTo>
                  <a:lnTo>
                    <a:pt x="531" y="243"/>
                  </a:lnTo>
                  <a:lnTo>
                    <a:pt x="557" y="272"/>
                  </a:lnTo>
                  <a:lnTo>
                    <a:pt x="613" y="275"/>
                  </a:lnTo>
                  <a:lnTo>
                    <a:pt x="698" y="279"/>
                  </a:lnTo>
                  <a:lnTo>
                    <a:pt x="700" y="250"/>
                  </a:lnTo>
                  <a:lnTo>
                    <a:pt x="729" y="222"/>
                  </a:lnTo>
                  <a:lnTo>
                    <a:pt x="758" y="195"/>
                  </a:lnTo>
                  <a:lnTo>
                    <a:pt x="790" y="138"/>
                  </a:lnTo>
                  <a:lnTo>
                    <a:pt x="791" y="108"/>
                  </a:lnTo>
                  <a:lnTo>
                    <a:pt x="821" y="81"/>
                  </a:lnTo>
                  <a:lnTo>
                    <a:pt x="851" y="53"/>
                  </a:lnTo>
                  <a:lnTo>
                    <a:pt x="853" y="24"/>
                  </a:lnTo>
                  <a:lnTo>
                    <a:pt x="880" y="25"/>
                  </a:lnTo>
                  <a:lnTo>
                    <a:pt x="908" y="27"/>
                  </a:lnTo>
                  <a:lnTo>
                    <a:pt x="965" y="0"/>
                  </a:lnTo>
                  <a:lnTo>
                    <a:pt x="993" y="2"/>
                  </a:lnTo>
                  <a:lnTo>
                    <a:pt x="1078" y="7"/>
                  </a:lnTo>
                  <a:lnTo>
                    <a:pt x="1104" y="37"/>
                  </a:lnTo>
                  <a:lnTo>
                    <a:pt x="1131" y="68"/>
                  </a:lnTo>
                  <a:lnTo>
                    <a:pt x="1157" y="99"/>
                  </a:lnTo>
                  <a:lnTo>
                    <a:pt x="1212" y="131"/>
                  </a:lnTo>
                  <a:lnTo>
                    <a:pt x="1240" y="131"/>
                  </a:lnTo>
                  <a:lnTo>
                    <a:pt x="1267" y="133"/>
                  </a:lnTo>
                  <a:lnTo>
                    <a:pt x="1292" y="193"/>
                  </a:lnTo>
                  <a:lnTo>
                    <a:pt x="1319" y="224"/>
                  </a:lnTo>
                  <a:lnTo>
                    <a:pt x="1402" y="258"/>
                  </a:lnTo>
                  <a:lnTo>
                    <a:pt x="1486" y="262"/>
                  </a:lnTo>
                  <a:lnTo>
                    <a:pt x="1512" y="292"/>
                  </a:lnTo>
                  <a:close/>
                </a:path>
              </a:pathLst>
            </a:custGeom>
            <a:solidFill>
              <a:srgbClr val="B2C2D1"/>
            </a:solidFill>
            <a:ln w="9525">
              <a:noFill/>
              <a:round/>
              <a:headEnd/>
              <a:tailEnd/>
            </a:ln>
          </p:spPr>
          <p:txBody>
            <a:bodyPr/>
            <a:lstStyle/>
            <a:p>
              <a:endParaRPr lang="el-GR"/>
            </a:p>
          </p:txBody>
        </p:sp>
        <p:sp>
          <p:nvSpPr>
            <p:cNvPr id="287" name="Freeform 164"/>
            <p:cNvSpPr>
              <a:spLocks/>
            </p:cNvSpPr>
            <p:nvPr/>
          </p:nvSpPr>
          <p:spPr bwMode="auto">
            <a:xfrm>
              <a:off x="2131" y="2025"/>
              <a:ext cx="673" cy="754"/>
            </a:xfrm>
            <a:custGeom>
              <a:avLst/>
              <a:gdLst>
                <a:gd name="T0" fmla="*/ 103 w 2824"/>
                <a:gd name="T1" fmla="*/ 24 h 3166"/>
                <a:gd name="T2" fmla="*/ 120 w 2824"/>
                <a:gd name="T3" fmla="*/ 38 h 3166"/>
                <a:gd name="T4" fmla="*/ 132 w 2824"/>
                <a:gd name="T5" fmla="*/ 49 h 3166"/>
                <a:gd name="T6" fmla="*/ 138 w 2824"/>
                <a:gd name="T7" fmla="*/ 58 h 3166"/>
                <a:gd name="T8" fmla="*/ 139 w 2824"/>
                <a:gd name="T9" fmla="*/ 68 h 3166"/>
                <a:gd name="T10" fmla="*/ 153 w 2824"/>
                <a:gd name="T11" fmla="*/ 83 h 3166"/>
                <a:gd name="T12" fmla="*/ 152 w 2824"/>
                <a:gd name="T13" fmla="*/ 90 h 3166"/>
                <a:gd name="T14" fmla="*/ 144 w 2824"/>
                <a:gd name="T15" fmla="*/ 91 h 3166"/>
                <a:gd name="T16" fmla="*/ 139 w 2824"/>
                <a:gd name="T17" fmla="*/ 96 h 3166"/>
                <a:gd name="T18" fmla="*/ 134 w 2824"/>
                <a:gd name="T19" fmla="*/ 97 h 3166"/>
                <a:gd name="T20" fmla="*/ 132 w 2824"/>
                <a:gd name="T21" fmla="*/ 90 h 3166"/>
                <a:gd name="T22" fmla="*/ 129 w 2824"/>
                <a:gd name="T23" fmla="*/ 82 h 3166"/>
                <a:gd name="T24" fmla="*/ 115 w 2824"/>
                <a:gd name="T25" fmla="*/ 76 h 3166"/>
                <a:gd name="T26" fmla="*/ 110 w 2824"/>
                <a:gd name="T27" fmla="*/ 79 h 3166"/>
                <a:gd name="T28" fmla="*/ 109 w 2824"/>
                <a:gd name="T29" fmla="*/ 88 h 3166"/>
                <a:gd name="T30" fmla="*/ 114 w 2824"/>
                <a:gd name="T31" fmla="*/ 96 h 3166"/>
                <a:gd name="T32" fmla="*/ 118 w 2824"/>
                <a:gd name="T33" fmla="*/ 106 h 3166"/>
                <a:gd name="T34" fmla="*/ 122 w 2824"/>
                <a:gd name="T35" fmla="*/ 115 h 3166"/>
                <a:gd name="T36" fmla="*/ 125 w 2824"/>
                <a:gd name="T37" fmla="*/ 122 h 3166"/>
                <a:gd name="T38" fmla="*/ 126 w 2824"/>
                <a:gd name="T39" fmla="*/ 135 h 3166"/>
                <a:gd name="T40" fmla="*/ 128 w 2824"/>
                <a:gd name="T41" fmla="*/ 147 h 3166"/>
                <a:gd name="T42" fmla="*/ 125 w 2824"/>
                <a:gd name="T43" fmla="*/ 157 h 3166"/>
                <a:gd name="T44" fmla="*/ 131 w 2824"/>
                <a:gd name="T45" fmla="*/ 167 h 3166"/>
                <a:gd name="T46" fmla="*/ 130 w 2824"/>
                <a:gd name="T47" fmla="*/ 177 h 3166"/>
                <a:gd name="T48" fmla="*/ 121 w 2824"/>
                <a:gd name="T49" fmla="*/ 168 h 3166"/>
                <a:gd name="T50" fmla="*/ 115 w 2824"/>
                <a:gd name="T51" fmla="*/ 158 h 3166"/>
                <a:gd name="T52" fmla="*/ 109 w 2824"/>
                <a:gd name="T53" fmla="*/ 152 h 3166"/>
                <a:gd name="T54" fmla="*/ 102 w 2824"/>
                <a:gd name="T55" fmla="*/ 142 h 3166"/>
                <a:gd name="T56" fmla="*/ 90 w 2824"/>
                <a:gd name="T57" fmla="*/ 150 h 3166"/>
                <a:gd name="T58" fmla="*/ 90 w 2824"/>
                <a:gd name="T59" fmla="*/ 155 h 3166"/>
                <a:gd name="T60" fmla="*/ 87 w 2824"/>
                <a:gd name="T61" fmla="*/ 158 h 3166"/>
                <a:gd name="T62" fmla="*/ 87 w 2824"/>
                <a:gd name="T63" fmla="*/ 171 h 3166"/>
                <a:gd name="T64" fmla="*/ 87 w 2824"/>
                <a:gd name="T65" fmla="*/ 180 h 3166"/>
                <a:gd name="T66" fmla="*/ 78 w 2824"/>
                <a:gd name="T67" fmla="*/ 167 h 3166"/>
                <a:gd name="T68" fmla="*/ 80 w 2824"/>
                <a:gd name="T69" fmla="*/ 159 h 3166"/>
                <a:gd name="T70" fmla="*/ 80 w 2824"/>
                <a:gd name="T71" fmla="*/ 153 h 3166"/>
                <a:gd name="T72" fmla="*/ 74 w 2824"/>
                <a:gd name="T73" fmla="*/ 142 h 3166"/>
                <a:gd name="T74" fmla="*/ 67 w 2824"/>
                <a:gd name="T75" fmla="*/ 132 h 3166"/>
                <a:gd name="T76" fmla="*/ 61 w 2824"/>
                <a:gd name="T77" fmla="*/ 118 h 3166"/>
                <a:gd name="T78" fmla="*/ 52 w 2824"/>
                <a:gd name="T79" fmla="*/ 135 h 3166"/>
                <a:gd name="T80" fmla="*/ 47 w 2824"/>
                <a:gd name="T81" fmla="*/ 144 h 3166"/>
                <a:gd name="T82" fmla="*/ 43 w 2824"/>
                <a:gd name="T83" fmla="*/ 137 h 3166"/>
                <a:gd name="T84" fmla="*/ 35 w 2824"/>
                <a:gd name="T85" fmla="*/ 130 h 3166"/>
                <a:gd name="T86" fmla="*/ 32 w 2824"/>
                <a:gd name="T87" fmla="*/ 120 h 3166"/>
                <a:gd name="T88" fmla="*/ 27 w 2824"/>
                <a:gd name="T89" fmla="*/ 105 h 3166"/>
                <a:gd name="T90" fmla="*/ 39 w 2824"/>
                <a:gd name="T91" fmla="*/ 86 h 3166"/>
                <a:gd name="T92" fmla="*/ 32 w 2824"/>
                <a:gd name="T93" fmla="*/ 74 h 3166"/>
                <a:gd name="T94" fmla="*/ 18 w 2824"/>
                <a:gd name="T95" fmla="*/ 60 h 3166"/>
                <a:gd name="T96" fmla="*/ 15 w 2824"/>
                <a:gd name="T97" fmla="*/ 56 h 3166"/>
                <a:gd name="T98" fmla="*/ 8 w 2824"/>
                <a:gd name="T99" fmla="*/ 46 h 3166"/>
                <a:gd name="T100" fmla="*/ 3 w 2824"/>
                <a:gd name="T101" fmla="*/ 35 h 3166"/>
                <a:gd name="T102" fmla="*/ 14 w 2824"/>
                <a:gd name="T103" fmla="*/ 28 h 3166"/>
                <a:gd name="T104" fmla="*/ 20 w 2824"/>
                <a:gd name="T105" fmla="*/ 16 h 3166"/>
                <a:gd name="T106" fmla="*/ 24 w 2824"/>
                <a:gd name="T107" fmla="*/ 12 h 3166"/>
                <a:gd name="T108" fmla="*/ 35 w 2824"/>
                <a:gd name="T109" fmla="*/ 15 h 3166"/>
                <a:gd name="T110" fmla="*/ 45 w 2824"/>
                <a:gd name="T111" fmla="*/ 6 h 3166"/>
                <a:gd name="T112" fmla="*/ 55 w 2824"/>
                <a:gd name="T113" fmla="*/ 0 h 3166"/>
                <a:gd name="T114" fmla="*/ 69 w 2824"/>
                <a:gd name="T115" fmla="*/ 7 h 3166"/>
                <a:gd name="T116" fmla="*/ 84 w 2824"/>
                <a:gd name="T117" fmla="*/ 15 h 316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24"/>
                <a:gd name="T178" fmla="*/ 0 h 3166"/>
                <a:gd name="T179" fmla="*/ 2824 w 2824"/>
                <a:gd name="T180" fmla="*/ 3166 h 316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24" h="3166">
                  <a:moveTo>
                    <a:pt x="1512" y="292"/>
                  </a:moveTo>
                  <a:lnTo>
                    <a:pt x="1593" y="355"/>
                  </a:lnTo>
                  <a:lnTo>
                    <a:pt x="1678" y="361"/>
                  </a:lnTo>
                  <a:lnTo>
                    <a:pt x="1706" y="362"/>
                  </a:lnTo>
                  <a:lnTo>
                    <a:pt x="1759" y="423"/>
                  </a:lnTo>
                  <a:lnTo>
                    <a:pt x="1815" y="427"/>
                  </a:lnTo>
                  <a:lnTo>
                    <a:pt x="1870" y="458"/>
                  </a:lnTo>
                  <a:lnTo>
                    <a:pt x="1923" y="520"/>
                  </a:lnTo>
                  <a:lnTo>
                    <a:pt x="1977" y="551"/>
                  </a:lnTo>
                  <a:lnTo>
                    <a:pt x="2002" y="611"/>
                  </a:lnTo>
                  <a:lnTo>
                    <a:pt x="2057" y="644"/>
                  </a:lnTo>
                  <a:lnTo>
                    <a:pt x="2111" y="676"/>
                  </a:lnTo>
                  <a:lnTo>
                    <a:pt x="2166" y="708"/>
                  </a:lnTo>
                  <a:lnTo>
                    <a:pt x="2194" y="709"/>
                  </a:lnTo>
                  <a:lnTo>
                    <a:pt x="2276" y="772"/>
                  </a:lnTo>
                  <a:lnTo>
                    <a:pt x="2273" y="801"/>
                  </a:lnTo>
                  <a:lnTo>
                    <a:pt x="2270" y="860"/>
                  </a:lnTo>
                  <a:lnTo>
                    <a:pt x="2326" y="863"/>
                  </a:lnTo>
                  <a:lnTo>
                    <a:pt x="2355" y="864"/>
                  </a:lnTo>
                  <a:lnTo>
                    <a:pt x="2383" y="866"/>
                  </a:lnTo>
                  <a:lnTo>
                    <a:pt x="2437" y="897"/>
                  </a:lnTo>
                  <a:lnTo>
                    <a:pt x="2464" y="929"/>
                  </a:lnTo>
                  <a:lnTo>
                    <a:pt x="2460" y="987"/>
                  </a:lnTo>
                  <a:lnTo>
                    <a:pt x="2430" y="1015"/>
                  </a:lnTo>
                  <a:lnTo>
                    <a:pt x="2402" y="1013"/>
                  </a:lnTo>
                  <a:lnTo>
                    <a:pt x="2346" y="1010"/>
                  </a:lnTo>
                  <a:lnTo>
                    <a:pt x="2400" y="1043"/>
                  </a:lnTo>
                  <a:lnTo>
                    <a:pt x="2455" y="1075"/>
                  </a:lnTo>
                  <a:lnTo>
                    <a:pt x="2425" y="1131"/>
                  </a:lnTo>
                  <a:lnTo>
                    <a:pt x="2450" y="1192"/>
                  </a:lnTo>
                  <a:lnTo>
                    <a:pt x="2420" y="1220"/>
                  </a:lnTo>
                  <a:lnTo>
                    <a:pt x="2447" y="1249"/>
                  </a:lnTo>
                  <a:lnTo>
                    <a:pt x="2524" y="1372"/>
                  </a:lnTo>
                  <a:lnTo>
                    <a:pt x="2579" y="1404"/>
                  </a:lnTo>
                  <a:lnTo>
                    <a:pt x="2604" y="1464"/>
                  </a:lnTo>
                  <a:lnTo>
                    <a:pt x="2687" y="1468"/>
                  </a:lnTo>
                  <a:lnTo>
                    <a:pt x="2742" y="1500"/>
                  </a:lnTo>
                  <a:lnTo>
                    <a:pt x="2772" y="1472"/>
                  </a:lnTo>
                  <a:lnTo>
                    <a:pt x="2824" y="1563"/>
                  </a:lnTo>
                  <a:lnTo>
                    <a:pt x="2795" y="1561"/>
                  </a:lnTo>
                  <a:lnTo>
                    <a:pt x="2738" y="1588"/>
                  </a:lnTo>
                  <a:lnTo>
                    <a:pt x="2682" y="1585"/>
                  </a:lnTo>
                  <a:lnTo>
                    <a:pt x="2654" y="1583"/>
                  </a:lnTo>
                  <a:lnTo>
                    <a:pt x="2569" y="1579"/>
                  </a:lnTo>
                  <a:lnTo>
                    <a:pt x="2568" y="1608"/>
                  </a:lnTo>
                  <a:lnTo>
                    <a:pt x="2540" y="1606"/>
                  </a:lnTo>
                  <a:lnTo>
                    <a:pt x="2541" y="1578"/>
                  </a:lnTo>
                  <a:lnTo>
                    <a:pt x="2540" y="1606"/>
                  </a:lnTo>
                  <a:lnTo>
                    <a:pt x="2512" y="1605"/>
                  </a:lnTo>
                  <a:lnTo>
                    <a:pt x="2483" y="1604"/>
                  </a:lnTo>
                  <a:lnTo>
                    <a:pt x="2482" y="1632"/>
                  </a:lnTo>
                  <a:lnTo>
                    <a:pt x="2537" y="1666"/>
                  </a:lnTo>
                  <a:lnTo>
                    <a:pt x="2481" y="1663"/>
                  </a:lnTo>
                  <a:lnTo>
                    <a:pt x="2451" y="1691"/>
                  </a:lnTo>
                  <a:lnTo>
                    <a:pt x="2423" y="1689"/>
                  </a:lnTo>
                  <a:lnTo>
                    <a:pt x="2448" y="1748"/>
                  </a:lnTo>
                  <a:lnTo>
                    <a:pt x="2419" y="1776"/>
                  </a:lnTo>
                  <a:lnTo>
                    <a:pt x="2363" y="1744"/>
                  </a:lnTo>
                  <a:lnTo>
                    <a:pt x="2394" y="1716"/>
                  </a:lnTo>
                  <a:lnTo>
                    <a:pt x="2365" y="1716"/>
                  </a:lnTo>
                  <a:lnTo>
                    <a:pt x="2339" y="1684"/>
                  </a:lnTo>
                  <a:lnTo>
                    <a:pt x="2367" y="1686"/>
                  </a:lnTo>
                  <a:lnTo>
                    <a:pt x="2341" y="1654"/>
                  </a:lnTo>
                  <a:lnTo>
                    <a:pt x="2284" y="1652"/>
                  </a:lnTo>
                  <a:lnTo>
                    <a:pt x="2287" y="1594"/>
                  </a:lnTo>
                  <a:lnTo>
                    <a:pt x="2316" y="1595"/>
                  </a:lnTo>
                  <a:lnTo>
                    <a:pt x="2346" y="1568"/>
                  </a:lnTo>
                  <a:lnTo>
                    <a:pt x="2373" y="1569"/>
                  </a:lnTo>
                  <a:lnTo>
                    <a:pt x="2376" y="1510"/>
                  </a:lnTo>
                  <a:lnTo>
                    <a:pt x="2321" y="1479"/>
                  </a:lnTo>
                  <a:lnTo>
                    <a:pt x="2293" y="1477"/>
                  </a:lnTo>
                  <a:lnTo>
                    <a:pt x="2267" y="1445"/>
                  </a:lnTo>
                  <a:lnTo>
                    <a:pt x="2210" y="1472"/>
                  </a:lnTo>
                  <a:lnTo>
                    <a:pt x="2214" y="1385"/>
                  </a:lnTo>
                  <a:lnTo>
                    <a:pt x="2132" y="1351"/>
                  </a:lnTo>
                  <a:lnTo>
                    <a:pt x="2103" y="1349"/>
                  </a:lnTo>
                  <a:lnTo>
                    <a:pt x="2073" y="1377"/>
                  </a:lnTo>
                  <a:lnTo>
                    <a:pt x="2019" y="1346"/>
                  </a:lnTo>
                  <a:lnTo>
                    <a:pt x="1993" y="1314"/>
                  </a:lnTo>
                  <a:lnTo>
                    <a:pt x="1968" y="1255"/>
                  </a:lnTo>
                  <a:lnTo>
                    <a:pt x="1910" y="1281"/>
                  </a:lnTo>
                  <a:lnTo>
                    <a:pt x="1937" y="1311"/>
                  </a:lnTo>
                  <a:lnTo>
                    <a:pt x="1852" y="1308"/>
                  </a:lnTo>
                  <a:lnTo>
                    <a:pt x="1932" y="1399"/>
                  </a:lnTo>
                  <a:lnTo>
                    <a:pt x="1903" y="1427"/>
                  </a:lnTo>
                  <a:lnTo>
                    <a:pt x="1931" y="1429"/>
                  </a:lnTo>
                  <a:lnTo>
                    <a:pt x="1928" y="1486"/>
                  </a:lnTo>
                  <a:lnTo>
                    <a:pt x="1956" y="1489"/>
                  </a:lnTo>
                  <a:lnTo>
                    <a:pt x="1954" y="1518"/>
                  </a:lnTo>
                  <a:lnTo>
                    <a:pt x="1924" y="1545"/>
                  </a:lnTo>
                  <a:lnTo>
                    <a:pt x="1923" y="1575"/>
                  </a:lnTo>
                  <a:lnTo>
                    <a:pt x="1951" y="1576"/>
                  </a:lnTo>
                  <a:lnTo>
                    <a:pt x="1977" y="1606"/>
                  </a:lnTo>
                  <a:lnTo>
                    <a:pt x="1976" y="1636"/>
                  </a:lnTo>
                  <a:lnTo>
                    <a:pt x="1975" y="1666"/>
                  </a:lnTo>
                  <a:lnTo>
                    <a:pt x="2002" y="1696"/>
                  </a:lnTo>
                  <a:lnTo>
                    <a:pt x="2028" y="1727"/>
                  </a:lnTo>
                  <a:lnTo>
                    <a:pt x="2025" y="1756"/>
                  </a:lnTo>
                  <a:lnTo>
                    <a:pt x="2054" y="1757"/>
                  </a:lnTo>
                  <a:lnTo>
                    <a:pt x="2025" y="1756"/>
                  </a:lnTo>
                  <a:lnTo>
                    <a:pt x="2079" y="1816"/>
                  </a:lnTo>
                  <a:lnTo>
                    <a:pt x="2075" y="1875"/>
                  </a:lnTo>
                  <a:lnTo>
                    <a:pt x="2102" y="1906"/>
                  </a:lnTo>
                  <a:lnTo>
                    <a:pt x="2072" y="1934"/>
                  </a:lnTo>
                  <a:lnTo>
                    <a:pt x="2071" y="1963"/>
                  </a:lnTo>
                  <a:lnTo>
                    <a:pt x="2096" y="2023"/>
                  </a:lnTo>
                  <a:lnTo>
                    <a:pt x="2124" y="2024"/>
                  </a:lnTo>
                  <a:lnTo>
                    <a:pt x="2152" y="2026"/>
                  </a:lnTo>
                  <a:lnTo>
                    <a:pt x="2151" y="2056"/>
                  </a:lnTo>
                  <a:lnTo>
                    <a:pt x="2177" y="2086"/>
                  </a:lnTo>
                  <a:lnTo>
                    <a:pt x="2176" y="2115"/>
                  </a:lnTo>
                  <a:lnTo>
                    <a:pt x="2148" y="2114"/>
                  </a:lnTo>
                  <a:lnTo>
                    <a:pt x="2121" y="2084"/>
                  </a:lnTo>
                  <a:lnTo>
                    <a:pt x="2202" y="2146"/>
                  </a:lnTo>
                  <a:lnTo>
                    <a:pt x="2197" y="2233"/>
                  </a:lnTo>
                  <a:lnTo>
                    <a:pt x="2168" y="2232"/>
                  </a:lnTo>
                  <a:lnTo>
                    <a:pt x="2195" y="2264"/>
                  </a:lnTo>
                  <a:lnTo>
                    <a:pt x="2194" y="2293"/>
                  </a:lnTo>
                  <a:lnTo>
                    <a:pt x="2219" y="2352"/>
                  </a:lnTo>
                  <a:lnTo>
                    <a:pt x="2218" y="2382"/>
                  </a:lnTo>
                  <a:lnTo>
                    <a:pt x="2244" y="2413"/>
                  </a:lnTo>
                  <a:lnTo>
                    <a:pt x="2242" y="2441"/>
                  </a:lnTo>
                  <a:lnTo>
                    <a:pt x="2267" y="2502"/>
                  </a:lnTo>
                  <a:lnTo>
                    <a:pt x="2264" y="2560"/>
                  </a:lnTo>
                  <a:lnTo>
                    <a:pt x="2291" y="2590"/>
                  </a:lnTo>
                  <a:lnTo>
                    <a:pt x="2263" y="2588"/>
                  </a:lnTo>
                  <a:lnTo>
                    <a:pt x="2260" y="2648"/>
                  </a:lnTo>
                  <a:lnTo>
                    <a:pt x="2233" y="2616"/>
                  </a:lnTo>
                  <a:lnTo>
                    <a:pt x="2204" y="2645"/>
                  </a:lnTo>
                  <a:lnTo>
                    <a:pt x="2201" y="2703"/>
                  </a:lnTo>
                  <a:lnTo>
                    <a:pt x="2229" y="2704"/>
                  </a:lnTo>
                  <a:lnTo>
                    <a:pt x="2197" y="2761"/>
                  </a:lnTo>
                  <a:lnTo>
                    <a:pt x="2195" y="2791"/>
                  </a:lnTo>
                  <a:lnTo>
                    <a:pt x="2223" y="2822"/>
                  </a:lnTo>
                  <a:lnTo>
                    <a:pt x="2221" y="2850"/>
                  </a:lnTo>
                  <a:lnTo>
                    <a:pt x="2274" y="2912"/>
                  </a:lnTo>
                  <a:lnTo>
                    <a:pt x="2303" y="2913"/>
                  </a:lnTo>
                  <a:lnTo>
                    <a:pt x="2300" y="2943"/>
                  </a:lnTo>
                  <a:lnTo>
                    <a:pt x="2329" y="2944"/>
                  </a:lnTo>
                  <a:lnTo>
                    <a:pt x="2295" y="3030"/>
                  </a:lnTo>
                  <a:lnTo>
                    <a:pt x="2322" y="3061"/>
                  </a:lnTo>
                  <a:lnTo>
                    <a:pt x="2376" y="3093"/>
                  </a:lnTo>
                  <a:lnTo>
                    <a:pt x="2375" y="3123"/>
                  </a:lnTo>
                  <a:lnTo>
                    <a:pt x="2291" y="3118"/>
                  </a:lnTo>
                  <a:lnTo>
                    <a:pt x="2263" y="3116"/>
                  </a:lnTo>
                  <a:lnTo>
                    <a:pt x="2212" y="3027"/>
                  </a:lnTo>
                  <a:lnTo>
                    <a:pt x="2213" y="2996"/>
                  </a:lnTo>
                  <a:lnTo>
                    <a:pt x="2187" y="2966"/>
                  </a:lnTo>
                  <a:lnTo>
                    <a:pt x="2159" y="2965"/>
                  </a:lnTo>
                  <a:lnTo>
                    <a:pt x="2130" y="2963"/>
                  </a:lnTo>
                  <a:lnTo>
                    <a:pt x="2077" y="2902"/>
                  </a:lnTo>
                  <a:lnTo>
                    <a:pt x="2080" y="2872"/>
                  </a:lnTo>
                  <a:lnTo>
                    <a:pt x="2053" y="2842"/>
                  </a:lnTo>
                  <a:lnTo>
                    <a:pt x="2027" y="2811"/>
                  </a:lnTo>
                  <a:lnTo>
                    <a:pt x="1999" y="2781"/>
                  </a:lnTo>
                  <a:lnTo>
                    <a:pt x="2028" y="2782"/>
                  </a:lnTo>
                  <a:lnTo>
                    <a:pt x="2002" y="2722"/>
                  </a:lnTo>
                  <a:lnTo>
                    <a:pt x="1975" y="2721"/>
                  </a:lnTo>
                  <a:lnTo>
                    <a:pt x="1976" y="2691"/>
                  </a:lnTo>
                  <a:lnTo>
                    <a:pt x="1947" y="2719"/>
                  </a:lnTo>
                  <a:lnTo>
                    <a:pt x="1945" y="2747"/>
                  </a:lnTo>
                  <a:lnTo>
                    <a:pt x="1919" y="2688"/>
                  </a:lnTo>
                  <a:lnTo>
                    <a:pt x="1950" y="2661"/>
                  </a:lnTo>
                  <a:lnTo>
                    <a:pt x="1925" y="2600"/>
                  </a:lnTo>
                  <a:lnTo>
                    <a:pt x="1898" y="2570"/>
                  </a:lnTo>
                  <a:lnTo>
                    <a:pt x="1901" y="2511"/>
                  </a:lnTo>
                  <a:lnTo>
                    <a:pt x="1847" y="2479"/>
                  </a:lnTo>
                  <a:lnTo>
                    <a:pt x="1789" y="2506"/>
                  </a:lnTo>
                  <a:lnTo>
                    <a:pt x="1761" y="2504"/>
                  </a:lnTo>
                  <a:lnTo>
                    <a:pt x="1705" y="2502"/>
                  </a:lnTo>
                  <a:lnTo>
                    <a:pt x="1646" y="2557"/>
                  </a:lnTo>
                  <a:lnTo>
                    <a:pt x="1643" y="2615"/>
                  </a:lnTo>
                  <a:lnTo>
                    <a:pt x="1613" y="2643"/>
                  </a:lnTo>
                  <a:lnTo>
                    <a:pt x="1585" y="2641"/>
                  </a:lnTo>
                  <a:lnTo>
                    <a:pt x="1612" y="2673"/>
                  </a:lnTo>
                  <a:lnTo>
                    <a:pt x="1584" y="2672"/>
                  </a:lnTo>
                  <a:lnTo>
                    <a:pt x="1581" y="2700"/>
                  </a:lnTo>
                  <a:lnTo>
                    <a:pt x="1610" y="2701"/>
                  </a:lnTo>
                  <a:lnTo>
                    <a:pt x="1606" y="2760"/>
                  </a:lnTo>
                  <a:lnTo>
                    <a:pt x="1580" y="2729"/>
                  </a:lnTo>
                  <a:lnTo>
                    <a:pt x="1553" y="2699"/>
                  </a:lnTo>
                  <a:lnTo>
                    <a:pt x="1552" y="2728"/>
                  </a:lnTo>
                  <a:lnTo>
                    <a:pt x="1578" y="2787"/>
                  </a:lnTo>
                  <a:lnTo>
                    <a:pt x="1548" y="2816"/>
                  </a:lnTo>
                  <a:lnTo>
                    <a:pt x="1550" y="2786"/>
                  </a:lnTo>
                  <a:lnTo>
                    <a:pt x="1522" y="2784"/>
                  </a:lnTo>
                  <a:lnTo>
                    <a:pt x="1520" y="2814"/>
                  </a:lnTo>
                  <a:lnTo>
                    <a:pt x="1516" y="2872"/>
                  </a:lnTo>
                  <a:lnTo>
                    <a:pt x="1514" y="2902"/>
                  </a:lnTo>
                  <a:lnTo>
                    <a:pt x="1511" y="2961"/>
                  </a:lnTo>
                  <a:lnTo>
                    <a:pt x="1538" y="2991"/>
                  </a:lnTo>
                  <a:lnTo>
                    <a:pt x="1537" y="3020"/>
                  </a:lnTo>
                  <a:lnTo>
                    <a:pt x="1536" y="3049"/>
                  </a:lnTo>
                  <a:lnTo>
                    <a:pt x="1534" y="3080"/>
                  </a:lnTo>
                  <a:lnTo>
                    <a:pt x="1506" y="3078"/>
                  </a:lnTo>
                  <a:lnTo>
                    <a:pt x="1534" y="3080"/>
                  </a:lnTo>
                  <a:lnTo>
                    <a:pt x="1531" y="3137"/>
                  </a:lnTo>
                  <a:lnTo>
                    <a:pt x="1529" y="3166"/>
                  </a:lnTo>
                  <a:lnTo>
                    <a:pt x="1506" y="3078"/>
                  </a:lnTo>
                  <a:lnTo>
                    <a:pt x="1478" y="3076"/>
                  </a:lnTo>
                  <a:lnTo>
                    <a:pt x="1508" y="3048"/>
                  </a:lnTo>
                  <a:lnTo>
                    <a:pt x="1424" y="3015"/>
                  </a:lnTo>
                  <a:lnTo>
                    <a:pt x="1397" y="3013"/>
                  </a:lnTo>
                  <a:lnTo>
                    <a:pt x="1372" y="2953"/>
                  </a:lnTo>
                  <a:lnTo>
                    <a:pt x="1345" y="2922"/>
                  </a:lnTo>
                  <a:lnTo>
                    <a:pt x="1372" y="2924"/>
                  </a:lnTo>
                  <a:lnTo>
                    <a:pt x="1375" y="2895"/>
                  </a:lnTo>
                  <a:lnTo>
                    <a:pt x="1403" y="2896"/>
                  </a:lnTo>
                  <a:lnTo>
                    <a:pt x="1378" y="2836"/>
                  </a:lnTo>
                  <a:lnTo>
                    <a:pt x="1407" y="2809"/>
                  </a:lnTo>
                  <a:lnTo>
                    <a:pt x="1381" y="2778"/>
                  </a:lnTo>
                  <a:lnTo>
                    <a:pt x="1382" y="2747"/>
                  </a:lnTo>
                  <a:lnTo>
                    <a:pt x="1410" y="2750"/>
                  </a:lnTo>
                  <a:lnTo>
                    <a:pt x="1384" y="2719"/>
                  </a:lnTo>
                  <a:lnTo>
                    <a:pt x="1387" y="2690"/>
                  </a:lnTo>
                  <a:lnTo>
                    <a:pt x="1414" y="2691"/>
                  </a:lnTo>
                  <a:lnTo>
                    <a:pt x="1415" y="2662"/>
                  </a:lnTo>
                  <a:lnTo>
                    <a:pt x="1387" y="2661"/>
                  </a:lnTo>
                  <a:lnTo>
                    <a:pt x="1361" y="2629"/>
                  </a:lnTo>
                  <a:lnTo>
                    <a:pt x="1282" y="2538"/>
                  </a:lnTo>
                  <a:lnTo>
                    <a:pt x="1337" y="2541"/>
                  </a:lnTo>
                  <a:lnTo>
                    <a:pt x="1311" y="2510"/>
                  </a:lnTo>
                  <a:lnTo>
                    <a:pt x="1314" y="2452"/>
                  </a:lnTo>
                  <a:lnTo>
                    <a:pt x="1288" y="2420"/>
                  </a:lnTo>
                  <a:lnTo>
                    <a:pt x="1289" y="2391"/>
                  </a:lnTo>
                  <a:lnTo>
                    <a:pt x="1236" y="2330"/>
                  </a:lnTo>
                  <a:lnTo>
                    <a:pt x="1237" y="2301"/>
                  </a:lnTo>
                  <a:lnTo>
                    <a:pt x="1181" y="2327"/>
                  </a:lnTo>
                  <a:lnTo>
                    <a:pt x="1155" y="2268"/>
                  </a:lnTo>
                  <a:lnTo>
                    <a:pt x="1156" y="2239"/>
                  </a:lnTo>
                  <a:lnTo>
                    <a:pt x="1159" y="2180"/>
                  </a:lnTo>
                  <a:lnTo>
                    <a:pt x="1161" y="2150"/>
                  </a:lnTo>
                  <a:lnTo>
                    <a:pt x="1162" y="2122"/>
                  </a:lnTo>
                  <a:lnTo>
                    <a:pt x="1080" y="2087"/>
                  </a:lnTo>
                  <a:lnTo>
                    <a:pt x="964" y="2140"/>
                  </a:lnTo>
                  <a:lnTo>
                    <a:pt x="935" y="2168"/>
                  </a:lnTo>
                  <a:lnTo>
                    <a:pt x="933" y="2227"/>
                  </a:lnTo>
                  <a:lnTo>
                    <a:pt x="930" y="2285"/>
                  </a:lnTo>
                  <a:lnTo>
                    <a:pt x="927" y="2314"/>
                  </a:lnTo>
                  <a:lnTo>
                    <a:pt x="924" y="2373"/>
                  </a:lnTo>
                  <a:lnTo>
                    <a:pt x="921" y="2431"/>
                  </a:lnTo>
                  <a:lnTo>
                    <a:pt x="948" y="2462"/>
                  </a:lnTo>
                  <a:lnTo>
                    <a:pt x="920" y="2461"/>
                  </a:lnTo>
                  <a:lnTo>
                    <a:pt x="887" y="2547"/>
                  </a:lnTo>
                  <a:lnTo>
                    <a:pt x="859" y="2545"/>
                  </a:lnTo>
                  <a:lnTo>
                    <a:pt x="831" y="2544"/>
                  </a:lnTo>
                  <a:lnTo>
                    <a:pt x="829" y="2573"/>
                  </a:lnTo>
                  <a:lnTo>
                    <a:pt x="831" y="2544"/>
                  </a:lnTo>
                  <a:lnTo>
                    <a:pt x="804" y="2514"/>
                  </a:lnTo>
                  <a:lnTo>
                    <a:pt x="778" y="2482"/>
                  </a:lnTo>
                  <a:lnTo>
                    <a:pt x="780" y="2453"/>
                  </a:lnTo>
                  <a:lnTo>
                    <a:pt x="753" y="2423"/>
                  </a:lnTo>
                  <a:lnTo>
                    <a:pt x="724" y="2451"/>
                  </a:lnTo>
                  <a:lnTo>
                    <a:pt x="696" y="2449"/>
                  </a:lnTo>
                  <a:lnTo>
                    <a:pt x="668" y="2448"/>
                  </a:lnTo>
                  <a:lnTo>
                    <a:pt x="640" y="2416"/>
                  </a:lnTo>
                  <a:lnTo>
                    <a:pt x="614" y="2386"/>
                  </a:lnTo>
                  <a:lnTo>
                    <a:pt x="620" y="2298"/>
                  </a:lnTo>
                  <a:lnTo>
                    <a:pt x="622" y="2240"/>
                  </a:lnTo>
                  <a:lnTo>
                    <a:pt x="623" y="2210"/>
                  </a:lnTo>
                  <a:lnTo>
                    <a:pt x="595" y="2208"/>
                  </a:lnTo>
                  <a:lnTo>
                    <a:pt x="569" y="2178"/>
                  </a:lnTo>
                  <a:lnTo>
                    <a:pt x="570" y="2149"/>
                  </a:lnTo>
                  <a:lnTo>
                    <a:pt x="572" y="2121"/>
                  </a:lnTo>
                  <a:lnTo>
                    <a:pt x="546" y="2089"/>
                  </a:lnTo>
                  <a:lnTo>
                    <a:pt x="547" y="2060"/>
                  </a:lnTo>
                  <a:lnTo>
                    <a:pt x="493" y="2028"/>
                  </a:lnTo>
                  <a:lnTo>
                    <a:pt x="494" y="1998"/>
                  </a:lnTo>
                  <a:lnTo>
                    <a:pt x="496" y="1969"/>
                  </a:lnTo>
                  <a:lnTo>
                    <a:pt x="474" y="1851"/>
                  </a:lnTo>
                  <a:lnTo>
                    <a:pt x="535" y="1766"/>
                  </a:lnTo>
                  <a:lnTo>
                    <a:pt x="565" y="1739"/>
                  </a:lnTo>
                  <a:lnTo>
                    <a:pt x="623" y="1682"/>
                  </a:lnTo>
                  <a:lnTo>
                    <a:pt x="653" y="1654"/>
                  </a:lnTo>
                  <a:lnTo>
                    <a:pt x="579" y="1476"/>
                  </a:lnTo>
                  <a:lnTo>
                    <a:pt x="688" y="1510"/>
                  </a:lnTo>
                  <a:lnTo>
                    <a:pt x="799" y="1545"/>
                  </a:lnTo>
                  <a:lnTo>
                    <a:pt x="716" y="1511"/>
                  </a:lnTo>
                  <a:lnTo>
                    <a:pt x="579" y="1476"/>
                  </a:lnTo>
                  <a:lnTo>
                    <a:pt x="607" y="1447"/>
                  </a:lnTo>
                  <a:lnTo>
                    <a:pt x="611" y="1389"/>
                  </a:lnTo>
                  <a:lnTo>
                    <a:pt x="559" y="1298"/>
                  </a:lnTo>
                  <a:lnTo>
                    <a:pt x="533" y="1268"/>
                  </a:lnTo>
                  <a:lnTo>
                    <a:pt x="480" y="1206"/>
                  </a:lnTo>
                  <a:lnTo>
                    <a:pt x="398" y="1174"/>
                  </a:lnTo>
                  <a:lnTo>
                    <a:pt x="401" y="1114"/>
                  </a:lnTo>
                  <a:lnTo>
                    <a:pt x="347" y="1082"/>
                  </a:lnTo>
                  <a:lnTo>
                    <a:pt x="320" y="1052"/>
                  </a:lnTo>
                  <a:lnTo>
                    <a:pt x="292" y="1050"/>
                  </a:lnTo>
                  <a:lnTo>
                    <a:pt x="263" y="1077"/>
                  </a:lnTo>
                  <a:lnTo>
                    <a:pt x="260" y="1106"/>
                  </a:lnTo>
                  <a:lnTo>
                    <a:pt x="234" y="1077"/>
                  </a:lnTo>
                  <a:lnTo>
                    <a:pt x="238" y="1018"/>
                  </a:lnTo>
                  <a:lnTo>
                    <a:pt x="266" y="991"/>
                  </a:lnTo>
                  <a:lnTo>
                    <a:pt x="240" y="959"/>
                  </a:lnTo>
                  <a:lnTo>
                    <a:pt x="243" y="901"/>
                  </a:lnTo>
                  <a:lnTo>
                    <a:pt x="217" y="869"/>
                  </a:lnTo>
                  <a:lnTo>
                    <a:pt x="218" y="841"/>
                  </a:lnTo>
                  <a:lnTo>
                    <a:pt x="192" y="810"/>
                  </a:lnTo>
                  <a:lnTo>
                    <a:pt x="136" y="808"/>
                  </a:lnTo>
                  <a:lnTo>
                    <a:pt x="82" y="775"/>
                  </a:lnTo>
                  <a:lnTo>
                    <a:pt x="54" y="773"/>
                  </a:lnTo>
                  <a:lnTo>
                    <a:pt x="26" y="744"/>
                  </a:lnTo>
                  <a:lnTo>
                    <a:pt x="0" y="712"/>
                  </a:lnTo>
                  <a:lnTo>
                    <a:pt x="32" y="655"/>
                  </a:lnTo>
                  <a:lnTo>
                    <a:pt x="60" y="627"/>
                  </a:lnTo>
                  <a:lnTo>
                    <a:pt x="62" y="599"/>
                  </a:lnTo>
                  <a:lnTo>
                    <a:pt x="116" y="630"/>
                  </a:lnTo>
                  <a:lnTo>
                    <a:pt x="145" y="632"/>
                  </a:lnTo>
                  <a:lnTo>
                    <a:pt x="176" y="575"/>
                  </a:lnTo>
                  <a:lnTo>
                    <a:pt x="206" y="548"/>
                  </a:lnTo>
                  <a:lnTo>
                    <a:pt x="238" y="489"/>
                  </a:lnTo>
                  <a:lnTo>
                    <a:pt x="266" y="462"/>
                  </a:lnTo>
                  <a:lnTo>
                    <a:pt x="297" y="405"/>
                  </a:lnTo>
                  <a:lnTo>
                    <a:pt x="328" y="377"/>
                  </a:lnTo>
                  <a:lnTo>
                    <a:pt x="274" y="316"/>
                  </a:lnTo>
                  <a:lnTo>
                    <a:pt x="359" y="321"/>
                  </a:lnTo>
                  <a:lnTo>
                    <a:pt x="360" y="291"/>
                  </a:lnTo>
                  <a:lnTo>
                    <a:pt x="361" y="262"/>
                  </a:lnTo>
                  <a:lnTo>
                    <a:pt x="362" y="233"/>
                  </a:lnTo>
                  <a:lnTo>
                    <a:pt x="365" y="174"/>
                  </a:lnTo>
                  <a:lnTo>
                    <a:pt x="392" y="206"/>
                  </a:lnTo>
                  <a:lnTo>
                    <a:pt x="394" y="176"/>
                  </a:lnTo>
                  <a:lnTo>
                    <a:pt x="421" y="206"/>
                  </a:lnTo>
                  <a:lnTo>
                    <a:pt x="450" y="179"/>
                  </a:lnTo>
                  <a:lnTo>
                    <a:pt x="477" y="209"/>
                  </a:lnTo>
                  <a:lnTo>
                    <a:pt x="503" y="240"/>
                  </a:lnTo>
                  <a:lnTo>
                    <a:pt x="531" y="243"/>
                  </a:lnTo>
                  <a:lnTo>
                    <a:pt x="557" y="272"/>
                  </a:lnTo>
                  <a:lnTo>
                    <a:pt x="613" y="275"/>
                  </a:lnTo>
                  <a:lnTo>
                    <a:pt x="698" y="279"/>
                  </a:lnTo>
                  <a:lnTo>
                    <a:pt x="700" y="250"/>
                  </a:lnTo>
                  <a:lnTo>
                    <a:pt x="729" y="222"/>
                  </a:lnTo>
                  <a:lnTo>
                    <a:pt x="758" y="195"/>
                  </a:lnTo>
                  <a:lnTo>
                    <a:pt x="790" y="138"/>
                  </a:lnTo>
                  <a:lnTo>
                    <a:pt x="791" y="108"/>
                  </a:lnTo>
                  <a:lnTo>
                    <a:pt x="821" y="81"/>
                  </a:lnTo>
                  <a:lnTo>
                    <a:pt x="851" y="53"/>
                  </a:lnTo>
                  <a:lnTo>
                    <a:pt x="853" y="24"/>
                  </a:lnTo>
                  <a:lnTo>
                    <a:pt x="880" y="25"/>
                  </a:lnTo>
                  <a:lnTo>
                    <a:pt x="908" y="27"/>
                  </a:lnTo>
                  <a:lnTo>
                    <a:pt x="965" y="0"/>
                  </a:lnTo>
                  <a:lnTo>
                    <a:pt x="993" y="2"/>
                  </a:lnTo>
                  <a:lnTo>
                    <a:pt x="1078" y="7"/>
                  </a:lnTo>
                  <a:lnTo>
                    <a:pt x="1104" y="37"/>
                  </a:lnTo>
                  <a:lnTo>
                    <a:pt x="1131" y="68"/>
                  </a:lnTo>
                  <a:lnTo>
                    <a:pt x="1157" y="99"/>
                  </a:lnTo>
                  <a:lnTo>
                    <a:pt x="1212" y="131"/>
                  </a:lnTo>
                  <a:lnTo>
                    <a:pt x="1240" y="131"/>
                  </a:lnTo>
                  <a:lnTo>
                    <a:pt x="1267" y="133"/>
                  </a:lnTo>
                  <a:lnTo>
                    <a:pt x="1292" y="193"/>
                  </a:lnTo>
                  <a:lnTo>
                    <a:pt x="1319" y="224"/>
                  </a:lnTo>
                  <a:lnTo>
                    <a:pt x="1402" y="258"/>
                  </a:lnTo>
                  <a:lnTo>
                    <a:pt x="1486" y="262"/>
                  </a:lnTo>
                  <a:lnTo>
                    <a:pt x="1512" y="292"/>
                  </a:lnTo>
                </a:path>
              </a:pathLst>
            </a:custGeom>
            <a:solidFill>
              <a:srgbClr val="B2C2D1"/>
            </a:solidFill>
            <a:ln w="9525">
              <a:noFill/>
              <a:round/>
              <a:headEnd/>
              <a:tailEnd/>
            </a:ln>
          </p:spPr>
          <p:txBody>
            <a:bodyPr/>
            <a:lstStyle/>
            <a:p>
              <a:endParaRPr lang="el-GR"/>
            </a:p>
          </p:txBody>
        </p:sp>
        <p:sp>
          <p:nvSpPr>
            <p:cNvPr id="288" name="Freeform 165"/>
            <p:cNvSpPr>
              <a:spLocks/>
            </p:cNvSpPr>
            <p:nvPr/>
          </p:nvSpPr>
          <p:spPr bwMode="auto">
            <a:xfrm>
              <a:off x="1892" y="824"/>
              <a:ext cx="1904" cy="1495"/>
            </a:xfrm>
            <a:custGeom>
              <a:avLst/>
              <a:gdLst>
                <a:gd name="T0" fmla="*/ 145 w 7996"/>
                <a:gd name="T1" fmla="*/ 289 h 6275"/>
                <a:gd name="T2" fmla="*/ 164 w 7996"/>
                <a:gd name="T3" fmla="*/ 293 h 6275"/>
                <a:gd name="T4" fmla="*/ 180 w 7996"/>
                <a:gd name="T5" fmla="*/ 297 h 6275"/>
                <a:gd name="T6" fmla="*/ 194 w 7996"/>
                <a:gd name="T7" fmla="*/ 305 h 6275"/>
                <a:gd name="T8" fmla="*/ 196 w 7996"/>
                <a:gd name="T9" fmla="*/ 318 h 6275"/>
                <a:gd name="T10" fmla="*/ 192 w 7996"/>
                <a:gd name="T11" fmla="*/ 329 h 6275"/>
                <a:gd name="T12" fmla="*/ 223 w 7996"/>
                <a:gd name="T13" fmla="*/ 321 h 6275"/>
                <a:gd name="T14" fmla="*/ 241 w 7996"/>
                <a:gd name="T15" fmla="*/ 339 h 6275"/>
                <a:gd name="T16" fmla="*/ 259 w 7996"/>
                <a:gd name="T17" fmla="*/ 356 h 6275"/>
                <a:gd name="T18" fmla="*/ 259 w 7996"/>
                <a:gd name="T19" fmla="*/ 331 h 6275"/>
                <a:gd name="T20" fmla="*/ 263 w 7996"/>
                <a:gd name="T21" fmla="*/ 307 h 6275"/>
                <a:gd name="T22" fmla="*/ 233 w 7996"/>
                <a:gd name="T23" fmla="*/ 280 h 6275"/>
                <a:gd name="T24" fmla="*/ 216 w 7996"/>
                <a:gd name="T25" fmla="*/ 269 h 6275"/>
                <a:gd name="T26" fmla="*/ 199 w 7996"/>
                <a:gd name="T27" fmla="*/ 260 h 6275"/>
                <a:gd name="T28" fmla="*/ 170 w 7996"/>
                <a:gd name="T29" fmla="*/ 245 h 6275"/>
                <a:gd name="T30" fmla="*/ 186 w 7996"/>
                <a:gd name="T31" fmla="*/ 241 h 6275"/>
                <a:gd name="T32" fmla="*/ 193 w 7996"/>
                <a:gd name="T33" fmla="*/ 222 h 6275"/>
                <a:gd name="T34" fmla="*/ 192 w 7996"/>
                <a:gd name="T35" fmla="*/ 203 h 6275"/>
                <a:gd name="T36" fmla="*/ 206 w 7996"/>
                <a:gd name="T37" fmla="*/ 221 h 6275"/>
                <a:gd name="T38" fmla="*/ 213 w 7996"/>
                <a:gd name="T39" fmla="*/ 201 h 6275"/>
                <a:gd name="T40" fmla="*/ 190 w 7996"/>
                <a:gd name="T41" fmla="*/ 158 h 6275"/>
                <a:gd name="T42" fmla="*/ 178 w 7996"/>
                <a:gd name="T43" fmla="*/ 113 h 6275"/>
                <a:gd name="T44" fmla="*/ 184 w 7996"/>
                <a:gd name="T45" fmla="*/ 95 h 6275"/>
                <a:gd name="T46" fmla="*/ 200 w 7996"/>
                <a:gd name="T47" fmla="*/ 91 h 6275"/>
                <a:gd name="T48" fmla="*/ 198 w 7996"/>
                <a:gd name="T49" fmla="*/ 107 h 6275"/>
                <a:gd name="T50" fmla="*/ 225 w 7996"/>
                <a:gd name="T51" fmla="*/ 136 h 6275"/>
                <a:gd name="T52" fmla="*/ 251 w 7996"/>
                <a:gd name="T53" fmla="*/ 152 h 6275"/>
                <a:gd name="T54" fmla="*/ 225 w 7996"/>
                <a:gd name="T55" fmla="*/ 124 h 6275"/>
                <a:gd name="T56" fmla="*/ 256 w 7996"/>
                <a:gd name="T57" fmla="*/ 139 h 6275"/>
                <a:gd name="T58" fmla="*/ 268 w 7996"/>
                <a:gd name="T59" fmla="*/ 146 h 6275"/>
                <a:gd name="T60" fmla="*/ 251 w 7996"/>
                <a:gd name="T61" fmla="*/ 119 h 6275"/>
                <a:gd name="T62" fmla="*/ 279 w 7996"/>
                <a:gd name="T63" fmla="*/ 120 h 6275"/>
                <a:gd name="T64" fmla="*/ 284 w 7996"/>
                <a:gd name="T65" fmla="*/ 117 h 6275"/>
                <a:gd name="T66" fmla="*/ 260 w 7996"/>
                <a:gd name="T67" fmla="*/ 102 h 6275"/>
                <a:gd name="T68" fmla="*/ 260 w 7996"/>
                <a:gd name="T69" fmla="*/ 74 h 6275"/>
                <a:gd name="T70" fmla="*/ 295 w 7996"/>
                <a:gd name="T71" fmla="*/ 70 h 6275"/>
                <a:gd name="T72" fmla="*/ 315 w 7996"/>
                <a:gd name="T73" fmla="*/ 69 h 6275"/>
                <a:gd name="T74" fmla="*/ 344 w 7996"/>
                <a:gd name="T75" fmla="*/ 62 h 6275"/>
                <a:gd name="T76" fmla="*/ 349 w 7996"/>
                <a:gd name="T77" fmla="*/ 64 h 6275"/>
                <a:gd name="T78" fmla="*/ 374 w 7996"/>
                <a:gd name="T79" fmla="*/ 72 h 6275"/>
                <a:gd name="T80" fmla="*/ 408 w 7996"/>
                <a:gd name="T81" fmla="*/ 82 h 6275"/>
                <a:gd name="T82" fmla="*/ 430 w 7996"/>
                <a:gd name="T83" fmla="*/ 58 h 6275"/>
                <a:gd name="T84" fmla="*/ 423 w 7996"/>
                <a:gd name="T85" fmla="*/ 0 h 6275"/>
                <a:gd name="T86" fmla="*/ 377 w 7996"/>
                <a:gd name="T87" fmla="*/ 37 h 6275"/>
                <a:gd name="T88" fmla="*/ 314 w 7996"/>
                <a:gd name="T89" fmla="*/ 11 h 6275"/>
                <a:gd name="T90" fmla="*/ 264 w 7996"/>
                <a:gd name="T91" fmla="*/ 16 h 6275"/>
                <a:gd name="T92" fmla="*/ 192 w 7996"/>
                <a:gd name="T93" fmla="*/ 24 h 6275"/>
                <a:gd name="T94" fmla="*/ 146 w 7996"/>
                <a:gd name="T95" fmla="*/ 35 h 6275"/>
                <a:gd name="T96" fmla="*/ 81 w 7996"/>
                <a:gd name="T97" fmla="*/ 58 h 6275"/>
                <a:gd name="T98" fmla="*/ 54 w 7996"/>
                <a:gd name="T99" fmla="*/ 107 h 6275"/>
                <a:gd name="T100" fmla="*/ 24 w 7996"/>
                <a:gd name="T101" fmla="*/ 150 h 6275"/>
                <a:gd name="T102" fmla="*/ 10 w 7996"/>
                <a:gd name="T103" fmla="*/ 171 h 6275"/>
                <a:gd name="T104" fmla="*/ 18 w 7996"/>
                <a:gd name="T105" fmla="*/ 188 h 6275"/>
                <a:gd name="T106" fmla="*/ 35 w 7996"/>
                <a:gd name="T107" fmla="*/ 212 h 6275"/>
                <a:gd name="T108" fmla="*/ 47 w 7996"/>
                <a:gd name="T109" fmla="*/ 232 h 6275"/>
                <a:gd name="T110" fmla="*/ 52 w 7996"/>
                <a:gd name="T111" fmla="*/ 246 h 6275"/>
                <a:gd name="T112" fmla="*/ 67 w 7996"/>
                <a:gd name="T113" fmla="*/ 272 h 6275"/>
                <a:gd name="T114" fmla="*/ 68 w 7996"/>
                <a:gd name="T115" fmla="*/ 285 h 6275"/>
                <a:gd name="T116" fmla="*/ 87 w 7996"/>
                <a:gd name="T117" fmla="*/ 283 h 6275"/>
                <a:gd name="T118" fmla="*/ 114 w 7996"/>
                <a:gd name="T119" fmla="*/ 285 h 62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96"/>
                <a:gd name="T181" fmla="*/ 0 h 6275"/>
                <a:gd name="T182" fmla="*/ 7996 w 7996"/>
                <a:gd name="T183" fmla="*/ 6275 h 62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96" h="6275">
                  <a:moveTo>
                    <a:pt x="2037" y="4974"/>
                  </a:moveTo>
                  <a:lnTo>
                    <a:pt x="2147" y="5008"/>
                  </a:lnTo>
                  <a:lnTo>
                    <a:pt x="2176" y="4981"/>
                  </a:lnTo>
                  <a:lnTo>
                    <a:pt x="2232" y="4984"/>
                  </a:lnTo>
                  <a:lnTo>
                    <a:pt x="2261" y="4986"/>
                  </a:lnTo>
                  <a:lnTo>
                    <a:pt x="2315" y="4989"/>
                  </a:lnTo>
                  <a:lnTo>
                    <a:pt x="2342" y="5019"/>
                  </a:lnTo>
                  <a:lnTo>
                    <a:pt x="2396" y="5052"/>
                  </a:lnTo>
                  <a:lnTo>
                    <a:pt x="2395" y="5080"/>
                  </a:lnTo>
                  <a:lnTo>
                    <a:pt x="2424" y="5053"/>
                  </a:lnTo>
                  <a:lnTo>
                    <a:pt x="2449" y="5113"/>
                  </a:lnTo>
                  <a:lnTo>
                    <a:pt x="2477" y="5085"/>
                  </a:lnTo>
                  <a:lnTo>
                    <a:pt x="2507" y="5057"/>
                  </a:lnTo>
                  <a:lnTo>
                    <a:pt x="2562" y="5090"/>
                  </a:lnTo>
                  <a:lnTo>
                    <a:pt x="2591" y="5061"/>
                  </a:lnTo>
                  <a:lnTo>
                    <a:pt x="2617" y="5092"/>
                  </a:lnTo>
                  <a:lnTo>
                    <a:pt x="2645" y="5094"/>
                  </a:lnTo>
                  <a:lnTo>
                    <a:pt x="2672" y="5124"/>
                  </a:lnTo>
                  <a:lnTo>
                    <a:pt x="2703" y="5039"/>
                  </a:lnTo>
                  <a:lnTo>
                    <a:pt x="2677" y="5007"/>
                  </a:lnTo>
                  <a:lnTo>
                    <a:pt x="2707" y="4980"/>
                  </a:lnTo>
                  <a:lnTo>
                    <a:pt x="2709" y="4951"/>
                  </a:lnTo>
                  <a:lnTo>
                    <a:pt x="2763" y="4984"/>
                  </a:lnTo>
                  <a:lnTo>
                    <a:pt x="2790" y="5014"/>
                  </a:lnTo>
                  <a:lnTo>
                    <a:pt x="2816" y="5015"/>
                  </a:lnTo>
                  <a:lnTo>
                    <a:pt x="2868" y="5105"/>
                  </a:lnTo>
                  <a:lnTo>
                    <a:pt x="2840" y="5104"/>
                  </a:lnTo>
                  <a:lnTo>
                    <a:pt x="2893" y="5165"/>
                  </a:lnTo>
                  <a:lnTo>
                    <a:pt x="2891" y="5195"/>
                  </a:lnTo>
                  <a:lnTo>
                    <a:pt x="2919" y="5196"/>
                  </a:lnTo>
                  <a:lnTo>
                    <a:pt x="2950" y="5138"/>
                  </a:lnTo>
                  <a:lnTo>
                    <a:pt x="2922" y="5137"/>
                  </a:lnTo>
                  <a:lnTo>
                    <a:pt x="2925" y="5079"/>
                  </a:lnTo>
                  <a:lnTo>
                    <a:pt x="2952" y="5080"/>
                  </a:lnTo>
                  <a:lnTo>
                    <a:pt x="2981" y="5082"/>
                  </a:lnTo>
                  <a:lnTo>
                    <a:pt x="2983" y="5053"/>
                  </a:lnTo>
                  <a:lnTo>
                    <a:pt x="2958" y="4993"/>
                  </a:lnTo>
                  <a:lnTo>
                    <a:pt x="3037" y="5085"/>
                  </a:lnTo>
                  <a:lnTo>
                    <a:pt x="3035" y="5113"/>
                  </a:lnTo>
                  <a:lnTo>
                    <a:pt x="3062" y="5145"/>
                  </a:lnTo>
                  <a:lnTo>
                    <a:pt x="3115" y="5207"/>
                  </a:lnTo>
                  <a:lnTo>
                    <a:pt x="3168" y="5238"/>
                  </a:lnTo>
                  <a:lnTo>
                    <a:pt x="3139" y="5266"/>
                  </a:lnTo>
                  <a:lnTo>
                    <a:pt x="3165" y="5296"/>
                  </a:lnTo>
                  <a:lnTo>
                    <a:pt x="3277" y="5302"/>
                  </a:lnTo>
                  <a:lnTo>
                    <a:pt x="3274" y="5360"/>
                  </a:lnTo>
                  <a:lnTo>
                    <a:pt x="3328" y="5362"/>
                  </a:lnTo>
                  <a:lnTo>
                    <a:pt x="3356" y="5365"/>
                  </a:lnTo>
                  <a:lnTo>
                    <a:pt x="3359" y="5335"/>
                  </a:lnTo>
                  <a:lnTo>
                    <a:pt x="3303" y="5332"/>
                  </a:lnTo>
                  <a:lnTo>
                    <a:pt x="3304" y="5303"/>
                  </a:lnTo>
                  <a:lnTo>
                    <a:pt x="3333" y="5305"/>
                  </a:lnTo>
                  <a:lnTo>
                    <a:pt x="3387" y="5337"/>
                  </a:lnTo>
                  <a:lnTo>
                    <a:pt x="3415" y="5337"/>
                  </a:lnTo>
                  <a:lnTo>
                    <a:pt x="3468" y="5371"/>
                  </a:lnTo>
                  <a:lnTo>
                    <a:pt x="3413" y="5368"/>
                  </a:lnTo>
                  <a:lnTo>
                    <a:pt x="3495" y="5401"/>
                  </a:lnTo>
                  <a:lnTo>
                    <a:pt x="3496" y="5372"/>
                  </a:lnTo>
                  <a:lnTo>
                    <a:pt x="3526" y="5344"/>
                  </a:lnTo>
                  <a:lnTo>
                    <a:pt x="3552" y="5374"/>
                  </a:lnTo>
                  <a:lnTo>
                    <a:pt x="3551" y="5404"/>
                  </a:lnTo>
                  <a:lnTo>
                    <a:pt x="3578" y="5406"/>
                  </a:lnTo>
                  <a:lnTo>
                    <a:pt x="3605" y="5407"/>
                  </a:lnTo>
                  <a:lnTo>
                    <a:pt x="3661" y="5439"/>
                  </a:lnTo>
                  <a:lnTo>
                    <a:pt x="3603" y="5465"/>
                  </a:lnTo>
                  <a:lnTo>
                    <a:pt x="3629" y="5496"/>
                  </a:lnTo>
                  <a:lnTo>
                    <a:pt x="3628" y="5525"/>
                  </a:lnTo>
                  <a:lnTo>
                    <a:pt x="3571" y="5551"/>
                  </a:lnTo>
                  <a:lnTo>
                    <a:pt x="3403" y="5542"/>
                  </a:lnTo>
                  <a:lnTo>
                    <a:pt x="3456" y="5604"/>
                  </a:lnTo>
                  <a:lnTo>
                    <a:pt x="3376" y="5541"/>
                  </a:lnTo>
                  <a:lnTo>
                    <a:pt x="3403" y="5571"/>
                  </a:lnTo>
                  <a:lnTo>
                    <a:pt x="3348" y="5539"/>
                  </a:lnTo>
                  <a:lnTo>
                    <a:pt x="3320" y="5538"/>
                  </a:lnTo>
                  <a:lnTo>
                    <a:pt x="3263" y="5564"/>
                  </a:lnTo>
                  <a:lnTo>
                    <a:pt x="3233" y="5592"/>
                  </a:lnTo>
                  <a:lnTo>
                    <a:pt x="3204" y="5620"/>
                  </a:lnTo>
                  <a:lnTo>
                    <a:pt x="3260" y="5622"/>
                  </a:lnTo>
                  <a:lnTo>
                    <a:pt x="3286" y="5654"/>
                  </a:lnTo>
                  <a:lnTo>
                    <a:pt x="3312" y="5684"/>
                  </a:lnTo>
                  <a:lnTo>
                    <a:pt x="3339" y="5714"/>
                  </a:lnTo>
                  <a:lnTo>
                    <a:pt x="3311" y="5713"/>
                  </a:lnTo>
                  <a:lnTo>
                    <a:pt x="3309" y="5741"/>
                  </a:lnTo>
                  <a:lnTo>
                    <a:pt x="3390" y="5805"/>
                  </a:lnTo>
                  <a:lnTo>
                    <a:pt x="3445" y="5807"/>
                  </a:lnTo>
                  <a:lnTo>
                    <a:pt x="3501" y="5809"/>
                  </a:lnTo>
                  <a:lnTo>
                    <a:pt x="3529" y="5812"/>
                  </a:lnTo>
                  <a:lnTo>
                    <a:pt x="3560" y="5755"/>
                  </a:lnTo>
                  <a:lnTo>
                    <a:pt x="3563" y="5697"/>
                  </a:lnTo>
                  <a:lnTo>
                    <a:pt x="3644" y="5730"/>
                  </a:lnTo>
                  <a:lnTo>
                    <a:pt x="3729" y="5735"/>
                  </a:lnTo>
                  <a:lnTo>
                    <a:pt x="3786" y="5709"/>
                  </a:lnTo>
                  <a:lnTo>
                    <a:pt x="3812" y="5738"/>
                  </a:lnTo>
                  <a:lnTo>
                    <a:pt x="3840" y="5740"/>
                  </a:lnTo>
                  <a:lnTo>
                    <a:pt x="3867" y="5741"/>
                  </a:lnTo>
                  <a:lnTo>
                    <a:pt x="3842" y="5712"/>
                  </a:lnTo>
                  <a:lnTo>
                    <a:pt x="3871" y="5684"/>
                  </a:lnTo>
                  <a:lnTo>
                    <a:pt x="3928" y="5657"/>
                  </a:lnTo>
                  <a:lnTo>
                    <a:pt x="3986" y="5632"/>
                  </a:lnTo>
                  <a:lnTo>
                    <a:pt x="4014" y="5632"/>
                  </a:lnTo>
                  <a:lnTo>
                    <a:pt x="4069" y="5635"/>
                  </a:lnTo>
                  <a:lnTo>
                    <a:pt x="4097" y="5637"/>
                  </a:lnTo>
                  <a:lnTo>
                    <a:pt x="4068" y="5664"/>
                  </a:lnTo>
                  <a:lnTo>
                    <a:pt x="4039" y="5691"/>
                  </a:lnTo>
                  <a:lnTo>
                    <a:pt x="4035" y="5750"/>
                  </a:lnTo>
                  <a:lnTo>
                    <a:pt x="4061" y="5781"/>
                  </a:lnTo>
                  <a:lnTo>
                    <a:pt x="4089" y="5783"/>
                  </a:lnTo>
                  <a:lnTo>
                    <a:pt x="4114" y="5843"/>
                  </a:lnTo>
                  <a:lnTo>
                    <a:pt x="4171" y="5816"/>
                  </a:lnTo>
                  <a:lnTo>
                    <a:pt x="4221" y="5936"/>
                  </a:lnTo>
                  <a:lnTo>
                    <a:pt x="4249" y="5937"/>
                  </a:lnTo>
                  <a:lnTo>
                    <a:pt x="4246" y="5966"/>
                  </a:lnTo>
                  <a:lnTo>
                    <a:pt x="4275" y="5967"/>
                  </a:lnTo>
                  <a:lnTo>
                    <a:pt x="4245" y="5996"/>
                  </a:lnTo>
                  <a:lnTo>
                    <a:pt x="4274" y="5997"/>
                  </a:lnTo>
                  <a:lnTo>
                    <a:pt x="4271" y="6026"/>
                  </a:lnTo>
                  <a:lnTo>
                    <a:pt x="4300" y="6027"/>
                  </a:lnTo>
                  <a:lnTo>
                    <a:pt x="4330" y="5999"/>
                  </a:lnTo>
                  <a:lnTo>
                    <a:pt x="4357" y="6001"/>
                  </a:lnTo>
                  <a:lnTo>
                    <a:pt x="4409" y="6063"/>
                  </a:lnTo>
                  <a:lnTo>
                    <a:pt x="4406" y="6150"/>
                  </a:lnTo>
                  <a:lnTo>
                    <a:pt x="4433" y="6150"/>
                  </a:lnTo>
                  <a:lnTo>
                    <a:pt x="4461" y="6153"/>
                  </a:lnTo>
                  <a:lnTo>
                    <a:pt x="4455" y="6240"/>
                  </a:lnTo>
                  <a:lnTo>
                    <a:pt x="4512" y="6243"/>
                  </a:lnTo>
                  <a:lnTo>
                    <a:pt x="4566" y="6275"/>
                  </a:lnTo>
                  <a:lnTo>
                    <a:pt x="4568" y="6246"/>
                  </a:lnTo>
                  <a:lnTo>
                    <a:pt x="4595" y="6247"/>
                  </a:lnTo>
                  <a:lnTo>
                    <a:pt x="4624" y="6220"/>
                  </a:lnTo>
                  <a:lnTo>
                    <a:pt x="4628" y="6161"/>
                  </a:lnTo>
                  <a:lnTo>
                    <a:pt x="4600" y="6160"/>
                  </a:lnTo>
                  <a:lnTo>
                    <a:pt x="4631" y="6103"/>
                  </a:lnTo>
                  <a:lnTo>
                    <a:pt x="4634" y="6044"/>
                  </a:lnTo>
                  <a:lnTo>
                    <a:pt x="4609" y="5985"/>
                  </a:lnTo>
                  <a:lnTo>
                    <a:pt x="4613" y="5926"/>
                  </a:lnTo>
                  <a:lnTo>
                    <a:pt x="4584" y="5925"/>
                  </a:lnTo>
                  <a:lnTo>
                    <a:pt x="4557" y="5895"/>
                  </a:lnTo>
                  <a:lnTo>
                    <a:pt x="4614" y="5898"/>
                  </a:lnTo>
                  <a:lnTo>
                    <a:pt x="4589" y="5838"/>
                  </a:lnTo>
                  <a:lnTo>
                    <a:pt x="4561" y="5836"/>
                  </a:lnTo>
                  <a:lnTo>
                    <a:pt x="4591" y="5808"/>
                  </a:lnTo>
                  <a:lnTo>
                    <a:pt x="4566" y="5749"/>
                  </a:lnTo>
                  <a:lnTo>
                    <a:pt x="4595" y="5722"/>
                  </a:lnTo>
                  <a:lnTo>
                    <a:pt x="4596" y="5691"/>
                  </a:lnTo>
                  <a:lnTo>
                    <a:pt x="4568" y="5690"/>
                  </a:lnTo>
                  <a:lnTo>
                    <a:pt x="4571" y="5632"/>
                  </a:lnTo>
                  <a:lnTo>
                    <a:pt x="4546" y="5572"/>
                  </a:lnTo>
                  <a:lnTo>
                    <a:pt x="4578" y="5516"/>
                  </a:lnTo>
                  <a:lnTo>
                    <a:pt x="4607" y="5489"/>
                  </a:lnTo>
                  <a:lnTo>
                    <a:pt x="4633" y="5519"/>
                  </a:lnTo>
                  <a:lnTo>
                    <a:pt x="4635" y="5490"/>
                  </a:lnTo>
                  <a:lnTo>
                    <a:pt x="4664" y="5462"/>
                  </a:lnTo>
                  <a:lnTo>
                    <a:pt x="4638" y="5432"/>
                  </a:lnTo>
                  <a:lnTo>
                    <a:pt x="4641" y="5402"/>
                  </a:lnTo>
                  <a:lnTo>
                    <a:pt x="4588" y="5341"/>
                  </a:lnTo>
                  <a:lnTo>
                    <a:pt x="4537" y="5251"/>
                  </a:lnTo>
                  <a:lnTo>
                    <a:pt x="4480" y="5248"/>
                  </a:lnTo>
                  <a:lnTo>
                    <a:pt x="4398" y="5214"/>
                  </a:lnTo>
                  <a:lnTo>
                    <a:pt x="4370" y="5213"/>
                  </a:lnTo>
                  <a:lnTo>
                    <a:pt x="4289" y="5179"/>
                  </a:lnTo>
                  <a:lnTo>
                    <a:pt x="4288" y="5209"/>
                  </a:lnTo>
                  <a:lnTo>
                    <a:pt x="4179" y="5145"/>
                  </a:lnTo>
                  <a:lnTo>
                    <a:pt x="4206" y="5146"/>
                  </a:lnTo>
                  <a:lnTo>
                    <a:pt x="4154" y="5085"/>
                  </a:lnTo>
                  <a:lnTo>
                    <a:pt x="4128" y="5054"/>
                  </a:lnTo>
                  <a:lnTo>
                    <a:pt x="4130" y="5025"/>
                  </a:lnTo>
                  <a:lnTo>
                    <a:pt x="4104" y="4995"/>
                  </a:lnTo>
                  <a:lnTo>
                    <a:pt x="4106" y="4936"/>
                  </a:lnTo>
                  <a:lnTo>
                    <a:pt x="4080" y="4906"/>
                  </a:lnTo>
                  <a:lnTo>
                    <a:pt x="4081" y="4877"/>
                  </a:lnTo>
                  <a:lnTo>
                    <a:pt x="4054" y="4875"/>
                  </a:lnTo>
                  <a:lnTo>
                    <a:pt x="4022" y="4932"/>
                  </a:lnTo>
                  <a:lnTo>
                    <a:pt x="3967" y="4928"/>
                  </a:lnTo>
                  <a:lnTo>
                    <a:pt x="3941" y="4899"/>
                  </a:lnTo>
                  <a:lnTo>
                    <a:pt x="3913" y="4897"/>
                  </a:lnTo>
                  <a:lnTo>
                    <a:pt x="3914" y="4868"/>
                  </a:lnTo>
                  <a:lnTo>
                    <a:pt x="3858" y="4866"/>
                  </a:lnTo>
                  <a:lnTo>
                    <a:pt x="3747" y="4859"/>
                  </a:lnTo>
                  <a:lnTo>
                    <a:pt x="3886" y="4866"/>
                  </a:lnTo>
                  <a:lnTo>
                    <a:pt x="3860" y="4835"/>
                  </a:lnTo>
                  <a:lnTo>
                    <a:pt x="3832" y="4834"/>
                  </a:lnTo>
                  <a:lnTo>
                    <a:pt x="3809" y="4745"/>
                  </a:lnTo>
                  <a:lnTo>
                    <a:pt x="3838" y="4717"/>
                  </a:lnTo>
                  <a:lnTo>
                    <a:pt x="3840" y="4689"/>
                  </a:lnTo>
                  <a:lnTo>
                    <a:pt x="3785" y="4657"/>
                  </a:lnTo>
                  <a:lnTo>
                    <a:pt x="3729" y="4653"/>
                  </a:lnTo>
                  <a:lnTo>
                    <a:pt x="3678" y="4593"/>
                  </a:lnTo>
                  <a:lnTo>
                    <a:pt x="3648" y="4620"/>
                  </a:lnTo>
                  <a:lnTo>
                    <a:pt x="3676" y="4621"/>
                  </a:lnTo>
                  <a:lnTo>
                    <a:pt x="3675" y="4651"/>
                  </a:lnTo>
                  <a:lnTo>
                    <a:pt x="3618" y="4648"/>
                  </a:lnTo>
                  <a:lnTo>
                    <a:pt x="3561" y="4674"/>
                  </a:lnTo>
                  <a:lnTo>
                    <a:pt x="3535" y="4643"/>
                  </a:lnTo>
                  <a:lnTo>
                    <a:pt x="3563" y="4645"/>
                  </a:lnTo>
                  <a:lnTo>
                    <a:pt x="3536" y="4614"/>
                  </a:lnTo>
                  <a:lnTo>
                    <a:pt x="3510" y="4583"/>
                  </a:lnTo>
                  <a:lnTo>
                    <a:pt x="3513" y="4525"/>
                  </a:lnTo>
                  <a:lnTo>
                    <a:pt x="3488" y="4465"/>
                  </a:lnTo>
                  <a:lnTo>
                    <a:pt x="3432" y="4463"/>
                  </a:lnTo>
                  <a:lnTo>
                    <a:pt x="3404" y="4462"/>
                  </a:lnTo>
                  <a:lnTo>
                    <a:pt x="3351" y="4429"/>
                  </a:lnTo>
                  <a:lnTo>
                    <a:pt x="3323" y="4428"/>
                  </a:lnTo>
                  <a:lnTo>
                    <a:pt x="3294" y="4455"/>
                  </a:lnTo>
                  <a:lnTo>
                    <a:pt x="3241" y="4394"/>
                  </a:lnTo>
                  <a:lnTo>
                    <a:pt x="3183" y="4421"/>
                  </a:lnTo>
                  <a:lnTo>
                    <a:pt x="3130" y="4359"/>
                  </a:lnTo>
                  <a:lnTo>
                    <a:pt x="3103" y="4359"/>
                  </a:lnTo>
                  <a:lnTo>
                    <a:pt x="3078" y="4298"/>
                  </a:lnTo>
                  <a:lnTo>
                    <a:pt x="3049" y="4325"/>
                  </a:lnTo>
                  <a:lnTo>
                    <a:pt x="2993" y="4323"/>
                  </a:lnTo>
                  <a:lnTo>
                    <a:pt x="2991" y="4352"/>
                  </a:lnTo>
                  <a:lnTo>
                    <a:pt x="2993" y="4323"/>
                  </a:lnTo>
                  <a:lnTo>
                    <a:pt x="2909" y="4319"/>
                  </a:lnTo>
                  <a:lnTo>
                    <a:pt x="2939" y="4291"/>
                  </a:lnTo>
                  <a:lnTo>
                    <a:pt x="2883" y="4288"/>
                  </a:lnTo>
                  <a:lnTo>
                    <a:pt x="2915" y="4231"/>
                  </a:lnTo>
                  <a:lnTo>
                    <a:pt x="2970" y="4234"/>
                  </a:lnTo>
                  <a:lnTo>
                    <a:pt x="2999" y="4206"/>
                  </a:lnTo>
                  <a:lnTo>
                    <a:pt x="3027" y="4207"/>
                  </a:lnTo>
                  <a:lnTo>
                    <a:pt x="3081" y="4240"/>
                  </a:lnTo>
                  <a:lnTo>
                    <a:pt x="3109" y="4241"/>
                  </a:lnTo>
                  <a:lnTo>
                    <a:pt x="3164" y="4273"/>
                  </a:lnTo>
                  <a:lnTo>
                    <a:pt x="3221" y="4247"/>
                  </a:lnTo>
                  <a:lnTo>
                    <a:pt x="3276" y="4251"/>
                  </a:lnTo>
                  <a:lnTo>
                    <a:pt x="3279" y="4192"/>
                  </a:lnTo>
                  <a:lnTo>
                    <a:pt x="3335" y="4194"/>
                  </a:lnTo>
                  <a:lnTo>
                    <a:pt x="3391" y="4198"/>
                  </a:lnTo>
                  <a:lnTo>
                    <a:pt x="3392" y="4168"/>
                  </a:lnTo>
                  <a:lnTo>
                    <a:pt x="3420" y="4171"/>
                  </a:lnTo>
                  <a:lnTo>
                    <a:pt x="3448" y="4171"/>
                  </a:lnTo>
                  <a:lnTo>
                    <a:pt x="3454" y="4055"/>
                  </a:lnTo>
                  <a:lnTo>
                    <a:pt x="3429" y="4025"/>
                  </a:lnTo>
                  <a:lnTo>
                    <a:pt x="3455" y="4026"/>
                  </a:lnTo>
                  <a:lnTo>
                    <a:pt x="3485" y="3999"/>
                  </a:lnTo>
                  <a:lnTo>
                    <a:pt x="3459" y="3968"/>
                  </a:lnTo>
                  <a:lnTo>
                    <a:pt x="3434" y="3908"/>
                  </a:lnTo>
                  <a:lnTo>
                    <a:pt x="3407" y="3877"/>
                  </a:lnTo>
                  <a:lnTo>
                    <a:pt x="3406" y="3907"/>
                  </a:lnTo>
                  <a:lnTo>
                    <a:pt x="3379" y="3876"/>
                  </a:lnTo>
                  <a:lnTo>
                    <a:pt x="3381" y="3847"/>
                  </a:lnTo>
                  <a:lnTo>
                    <a:pt x="3382" y="3817"/>
                  </a:lnTo>
                  <a:lnTo>
                    <a:pt x="3356" y="3787"/>
                  </a:lnTo>
                  <a:lnTo>
                    <a:pt x="3328" y="3785"/>
                  </a:lnTo>
                  <a:lnTo>
                    <a:pt x="3328" y="3815"/>
                  </a:lnTo>
                  <a:lnTo>
                    <a:pt x="3298" y="3842"/>
                  </a:lnTo>
                  <a:lnTo>
                    <a:pt x="3301" y="3784"/>
                  </a:lnTo>
                  <a:lnTo>
                    <a:pt x="3273" y="3782"/>
                  </a:lnTo>
                  <a:lnTo>
                    <a:pt x="3250" y="3693"/>
                  </a:lnTo>
                  <a:lnTo>
                    <a:pt x="3281" y="3637"/>
                  </a:lnTo>
                  <a:lnTo>
                    <a:pt x="3337" y="3640"/>
                  </a:lnTo>
                  <a:lnTo>
                    <a:pt x="3421" y="3615"/>
                  </a:lnTo>
                  <a:lnTo>
                    <a:pt x="3395" y="3584"/>
                  </a:lnTo>
                  <a:lnTo>
                    <a:pt x="3427" y="3528"/>
                  </a:lnTo>
                  <a:lnTo>
                    <a:pt x="3482" y="3531"/>
                  </a:lnTo>
                  <a:lnTo>
                    <a:pt x="3507" y="3590"/>
                  </a:lnTo>
                  <a:lnTo>
                    <a:pt x="3562" y="3594"/>
                  </a:lnTo>
                  <a:lnTo>
                    <a:pt x="3617" y="3596"/>
                  </a:lnTo>
                  <a:lnTo>
                    <a:pt x="3644" y="3627"/>
                  </a:lnTo>
                  <a:lnTo>
                    <a:pt x="3695" y="3717"/>
                  </a:lnTo>
                  <a:lnTo>
                    <a:pt x="3720" y="3777"/>
                  </a:lnTo>
                  <a:lnTo>
                    <a:pt x="3746" y="3807"/>
                  </a:lnTo>
                  <a:lnTo>
                    <a:pt x="3717" y="3835"/>
                  </a:lnTo>
                  <a:lnTo>
                    <a:pt x="3690" y="3834"/>
                  </a:lnTo>
                  <a:lnTo>
                    <a:pt x="3687" y="3891"/>
                  </a:lnTo>
                  <a:lnTo>
                    <a:pt x="3601" y="3916"/>
                  </a:lnTo>
                  <a:lnTo>
                    <a:pt x="3630" y="3888"/>
                  </a:lnTo>
                  <a:lnTo>
                    <a:pt x="3603" y="3859"/>
                  </a:lnTo>
                  <a:lnTo>
                    <a:pt x="3547" y="3885"/>
                  </a:lnTo>
                  <a:lnTo>
                    <a:pt x="3517" y="3941"/>
                  </a:lnTo>
                  <a:lnTo>
                    <a:pt x="3570" y="3974"/>
                  </a:lnTo>
                  <a:lnTo>
                    <a:pt x="3741" y="3924"/>
                  </a:lnTo>
                  <a:lnTo>
                    <a:pt x="3742" y="3895"/>
                  </a:lnTo>
                  <a:lnTo>
                    <a:pt x="3798" y="3898"/>
                  </a:lnTo>
                  <a:lnTo>
                    <a:pt x="3853" y="3900"/>
                  </a:lnTo>
                  <a:lnTo>
                    <a:pt x="3884" y="3844"/>
                  </a:lnTo>
                  <a:lnTo>
                    <a:pt x="3886" y="3815"/>
                  </a:lnTo>
                  <a:lnTo>
                    <a:pt x="3836" y="3695"/>
                  </a:lnTo>
                  <a:lnTo>
                    <a:pt x="3838" y="3666"/>
                  </a:lnTo>
                  <a:lnTo>
                    <a:pt x="3816" y="3577"/>
                  </a:lnTo>
                  <a:lnTo>
                    <a:pt x="3760" y="3546"/>
                  </a:lnTo>
                  <a:lnTo>
                    <a:pt x="3732" y="3544"/>
                  </a:lnTo>
                  <a:lnTo>
                    <a:pt x="3735" y="3485"/>
                  </a:lnTo>
                  <a:lnTo>
                    <a:pt x="3710" y="3426"/>
                  </a:lnTo>
                  <a:lnTo>
                    <a:pt x="3656" y="3393"/>
                  </a:lnTo>
                  <a:lnTo>
                    <a:pt x="3581" y="3243"/>
                  </a:lnTo>
                  <a:lnTo>
                    <a:pt x="3553" y="3242"/>
                  </a:lnTo>
                  <a:lnTo>
                    <a:pt x="3527" y="3212"/>
                  </a:lnTo>
                  <a:lnTo>
                    <a:pt x="3444" y="3178"/>
                  </a:lnTo>
                  <a:lnTo>
                    <a:pt x="3367" y="3057"/>
                  </a:lnTo>
                  <a:lnTo>
                    <a:pt x="3396" y="3029"/>
                  </a:lnTo>
                  <a:lnTo>
                    <a:pt x="3400" y="2971"/>
                  </a:lnTo>
                  <a:lnTo>
                    <a:pt x="3349" y="2881"/>
                  </a:lnTo>
                  <a:lnTo>
                    <a:pt x="3352" y="2823"/>
                  </a:lnTo>
                  <a:lnTo>
                    <a:pt x="3353" y="2793"/>
                  </a:lnTo>
                  <a:lnTo>
                    <a:pt x="3298" y="2792"/>
                  </a:lnTo>
                  <a:lnTo>
                    <a:pt x="3301" y="2733"/>
                  </a:lnTo>
                  <a:lnTo>
                    <a:pt x="3274" y="2702"/>
                  </a:lnTo>
                  <a:lnTo>
                    <a:pt x="3192" y="2668"/>
                  </a:lnTo>
                  <a:lnTo>
                    <a:pt x="3194" y="2639"/>
                  </a:lnTo>
                  <a:lnTo>
                    <a:pt x="3197" y="2581"/>
                  </a:lnTo>
                  <a:lnTo>
                    <a:pt x="3090" y="2487"/>
                  </a:lnTo>
                  <a:lnTo>
                    <a:pt x="3093" y="2429"/>
                  </a:lnTo>
                  <a:lnTo>
                    <a:pt x="3069" y="2340"/>
                  </a:lnTo>
                  <a:lnTo>
                    <a:pt x="3047" y="2251"/>
                  </a:lnTo>
                  <a:lnTo>
                    <a:pt x="3050" y="2193"/>
                  </a:lnTo>
                  <a:lnTo>
                    <a:pt x="3080" y="2137"/>
                  </a:lnTo>
                  <a:lnTo>
                    <a:pt x="3082" y="2108"/>
                  </a:lnTo>
                  <a:lnTo>
                    <a:pt x="3144" y="1994"/>
                  </a:lnTo>
                  <a:lnTo>
                    <a:pt x="3177" y="1908"/>
                  </a:lnTo>
                  <a:lnTo>
                    <a:pt x="3178" y="1879"/>
                  </a:lnTo>
                  <a:lnTo>
                    <a:pt x="3148" y="1907"/>
                  </a:lnTo>
                  <a:lnTo>
                    <a:pt x="3122" y="1876"/>
                  </a:lnTo>
                  <a:lnTo>
                    <a:pt x="3153" y="1849"/>
                  </a:lnTo>
                  <a:lnTo>
                    <a:pt x="3128" y="1759"/>
                  </a:lnTo>
                  <a:lnTo>
                    <a:pt x="3103" y="1729"/>
                  </a:lnTo>
                  <a:lnTo>
                    <a:pt x="3158" y="1732"/>
                  </a:lnTo>
                  <a:lnTo>
                    <a:pt x="3133" y="1672"/>
                  </a:lnTo>
                  <a:lnTo>
                    <a:pt x="3191" y="1646"/>
                  </a:lnTo>
                  <a:lnTo>
                    <a:pt x="3163" y="1644"/>
                  </a:lnTo>
                  <a:lnTo>
                    <a:pt x="3165" y="1615"/>
                  </a:lnTo>
                  <a:lnTo>
                    <a:pt x="3218" y="1647"/>
                  </a:lnTo>
                  <a:lnTo>
                    <a:pt x="3245" y="1678"/>
                  </a:lnTo>
                  <a:lnTo>
                    <a:pt x="3274" y="1650"/>
                  </a:lnTo>
                  <a:lnTo>
                    <a:pt x="3301" y="1681"/>
                  </a:lnTo>
                  <a:lnTo>
                    <a:pt x="3303" y="1623"/>
                  </a:lnTo>
                  <a:lnTo>
                    <a:pt x="3333" y="1594"/>
                  </a:lnTo>
                  <a:lnTo>
                    <a:pt x="3361" y="1597"/>
                  </a:lnTo>
                  <a:lnTo>
                    <a:pt x="3363" y="1567"/>
                  </a:lnTo>
                  <a:lnTo>
                    <a:pt x="3389" y="1598"/>
                  </a:lnTo>
                  <a:lnTo>
                    <a:pt x="3446" y="1572"/>
                  </a:lnTo>
                  <a:lnTo>
                    <a:pt x="3475" y="1544"/>
                  </a:lnTo>
                  <a:lnTo>
                    <a:pt x="3421" y="1511"/>
                  </a:lnTo>
                  <a:lnTo>
                    <a:pt x="3451" y="1484"/>
                  </a:lnTo>
                  <a:lnTo>
                    <a:pt x="3532" y="1518"/>
                  </a:lnTo>
                  <a:lnTo>
                    <a:pt x="3531" y="1547"/>
                  </a:lnTo>
                  <a:lnTo>
                    <a:pt x="3529" y="1604"/>
                  </a:lnTo>
                  <a:lnTo>
                    <a:pt x="3556" y="1606"/>
                  </a:lnTo>
                  <a:lnTo>
                    <a:pt x="3582" y="1638"/>
                  </a:lnTo>
                  <a:lnTo>
                    <a:pt x="3553" y="1665"/>
                  </a:lnTo>
                  <a:lnTo>
                    <a:pt x="3523" y="1693"/>
                  </a:lnTo>
                  <a:lnTo>
                    <a:pt x="3466" y="1719"/>
                  </a:lnTo>
                  <a:lnTo>
                    <a:pt x="3383" y="1684"/>
                  </a:lnTo>
                  <a:lnTo>
                    <a:pt x="3380" y="1744"/>
                  </a:lnTo>
                  <a:lnTo>
                    <a:pt x="3437" y="1746"/>
                  </a:lnTo>
                  <a:lnTo>
                    <a:pt x="3435" y="1775"/>
                  </a:lnTo>
                  <a:lnTo>
                    <a:pt x="3433" y="1804"/>
                  </a:lnTo>
                  <a:lnTo>
                    <a:pt x="3460" y="1836"/>
                  </a:lnTo>
                  <a:lnTo>
                    <a:pt x="3486" y="1865"/>
                  </a:lnTo>
                  <a:lnTo>
                    <a:pt x="3456" y="1893"/>
                  </a:lnTo>
                  <a:lnTo>
                    <a:pt x="3484" y="1895"/>
                  </a:lnTo>
                  <a:lnTo>
                    <a:pt x="3540" y="1898"/>
                  </a:lnTo>
                  <a:lnTo>
                    <a:pt x="3568" y="1899"/>
                  </a:lnTo>
                  <a:lnTo>
                    <a:pt x="3620" y="1990"/>
                  </a:lnTo>
                  <a:lnTo>
                    <a:pt x="3728" y="2053"/>
                  </a:lnTo>
                  <a:lnTo>
                    <a:pt x="3754" y="2085"/>
                  </a:lnTo>
                  <a:lnTo>
                    <a:pt x="3810" y="2087"/>
                  </a:lnTo>
                  <a:lnTo>
                    <a:pt x="3836" y="2118"/>
                  </a:lnTo>
                  <a:lnTo>
                    <a:pt x="3892" y="2120"/>
                  </a:lnTo>
                  <a:lnTo>
                    <a:pt x="3973" y="2183"/>
                  </a:lnTo>
                  <a:lnTo>
                    <a:pt x="3968" y="2242"/>
                  </a:lnTo>
                  <a:lnTo>
                    <a:pt x="3938" y="2298"/>
                  </a:lnTo>
                  <a:lnTo>
                    <a:pt x="3965" y="2329"/>
                  </a:lnTo>
                  <a:lnTo>
                    <a:pt x="3935" y="2356"/>
                  </a:lnTo>
                  <a:lnTo>
                    <a:pt x="3962" y="2388"/>
                  </a:lnTo>
                  <a:lnTo>
                    <a:pt x="3960" y="2416"/>
                  </a:lnTo>
                  <a:lnTo>
                    <a:pt x="3987" y="2447"/>
                  </a:lnTo>
                  <a:lnTo>
                    <a:pt x="3984" y="2476"/>
                  </a:lnTo>
                  <a:lnTo>
                    <a:pt x="4009" y="2535"/>
                  </a:lnTo>
                  <a:lnTo>
                    <a:pt x="3979" y="2592"/>
                  </a:lnTo>
                  <a:lnTo>
                    <a:pt x="4035" y="2566"/>
                  </a:lnTo>
                  <a:lnTo>
                    <a:pt x="4063" y="2569"/>
                  </a:lnTo>
                  <a:lnTo>
                    <a:pt x="4092" y="2569"/>
                  </a:lnTo>
                  <a:lnTo>
                    <a:pt x="4147" y="2572"/>
                  </a:lnTo>
                  <a:lnTo>
                    <a:pt x="4200" y="2634"/>
                  </a:lnTo>
                  <a:lnTo>
                    <a:pt x="4281" y="2667"/>
                  </a:lnTo>
                  <a:lnTo>
                    <a:pt x="4337" y="2670"/>
                  </a:lnTo>
                  <a:lnTo>
                    <a:pt x="4392" y="2702"/>
                  </a:lnTo>
                  <a:lnTo>
                    <a:pt x="4421" y="2675"/>
                  </a:lnTo>
                  <a:lnTo>
                    <a:pt x="4449" y="2675"/>
                  </a:lnTo>
                  <a:lnTo>
                    <a:pt x="4450" y="2647"/>
                  </a:lnTo>
                  <a:lnTo>
                    <a:pt x="4395" y="2643"/>
                  </a:lnTo>
                  <a:lnTo>
                    <a:pt x="4368" y="2613"/>
                  </a:lnTo>
                  <a:lnTo>
                    <a:pt x="4370" y="2584"/>
                  </a:lnTo>
                  <a:lnTo>
                    <a:pt x="4288" y="2550"/>
                  </a:lnTo>
                  <a:lnTo>
                    <a:pt x="4234" y="2519"/>
                  </a:lnTo>
                  <a:lnTo>
                    <a:pt x="4152" y="2485"/>
                  </a:lnTo>
                  <a:lnTo>
                    <a:pt x="4128" y="2395"/>
                  </a:lnTo>
                  <a:lnTo>
                    <a:pt x="4100" y="2394"/>
                  </a:lnTo>
                  <a:lnTo>
                    <a:pt x="4049" y="2305"/>
                  </a:lnTo>
                  <a:lnTo>
                    <a:pt x="4021" y="2302"/>
                  </a:lnTo>
                  <a:lnTo>
                    <a:pt x="3999" y="2215"/>
                  </a:lnTo>
                  <a:lnTo>
                    <a:pt x="3973" y="2183"/>
                  </a:lnTo>
                  <a:lnTo>
                    <a:pt x="4004" y="2126"/>
                  </a:lnTo>
                  <a:lnTo>
                    <a:pt x="4032" y="2099"/>
                  </a:lnTo>
                  <a:lnTo>
                    <a:pt x="4088" y="2102"/>
                  </a:lnTo>
                  <a:lnTo>
                    <a:pt x="4170" y="2135"/>
                  </a:lnTo>
                  <a:lnTo>
                    <a:pt x="4225" y="2168"/>
                  </a:lnTo>
                  <a:lnTo>
                    <a:pt x="4280" y="2170"/>
                  </a:lnTo>
                  <a:lnTo>
                    <a:pt x="4362" y="2203"/>
                  </a:lnTo>
                  <a:lnTo>
                    <a:pt x="4388" y="2234"/>
                  </a:lnTo>
                  <a:lnTo>
                    <a:pt x="4417" y="2236"/>
                  </a:lnTo>
                  <a:lnTo>
                    <a:pt x="4441" y="2296"/>
                  </a:lnTo>
                  <a:lnTo>
                    <a:pt x="4493" y="2356"/>
                  </a:lnTo>
                  <a:lnTo>
                    <a:pt x="4492" y="2386"/>
                  </a:lnTo>
                  <a:lnTo>
                    <a:pt x="4518" y="2416"/>
                  </a:lnTo>
                  <a:lnTo>
                    <a:pt x="4517" y="2445"/>
                  </a:lnTo>
                  <a:lnTo>
                    <a:pt x="4539" y="2563"/>
                  </a:lnTo>
                  <a:lnTo>
                    <a:pt x="4542" y="2506"/>
                  </a:lnTo>
                  <a:lnTo>
                    <a:pt x="4622" y="2569"/>
                  </a:lnTo>
                  <a:lnTo>
                    <a:pt x="4619" y="2626"/>
                  </a:lnTo>
                  <a:lnTo>
                    <a:pt x="4648" y="2599"/>
                  </a:lnTo>
                  <a:lnTo>
                    <a:pt x="4675" y="2628"/>
                  </a:lnTo>
                  <a:lnTo>
                    <a:pt x="4647" y="2627"/>
                  </a:lnTo>
                  <a:lnTo>
                    <a:pt x="4673" y="2658"/>
                  </a:lnTo>
                  <a:lnTo>
                    <a:pt x="4701" y="2660"/>
                  </a:lnTo>
                  <a:lnTo>
                    <a:pt x="4729" y="2662"/>
                  </a:lnTo>
                  <a:lnTo>
                    <a:pt x="4731" y="2631"/>
                  </a:lnTo>
                  <a:lnTo>
                    <a:pt x="4705" y="2601"/>
                  </a:lnTo>
                  <a:lnTo>
                    <a:pt x="4760" y="2604"/>
                  </a:lnTo>
                  <a:lnTo>
                    <a:pt x="4734" y="2574"/>
                  </a:lnTo>
                  <a:lnTo>
                    <a:pt x="4791" y="2547"/>
                  </a:lnTo>
                  <a:lnTo>
                    <a:pt x="4765" y="2517"/>
                  </a:lnTo>
                  <a:lnTo>
                    <a:pt x="4737" y="2516"/>
                  </a:lnTo>
                  <a:lnTo>
                    <a:pt x="4766" y="2487"/>
                  </a:lnTo>
                  <a:lnTo>
                    <a:pt x="4713" y="2427"/>
                  </a:lnTo>
                  <a:lnTo>
                    <a:pt x="4744" y="2399"/>
                  </a:lnTo>
                  <a:lnTo>
                    <a:pt x="4664" y="2308"/>
                  </a:lnTo>
                  <a:lnTo>
                    <a:pt x="4581" y="2274"/>
                  </a:lnTo>
                  <a:lnTo>
                    <a:pt x="4555" y="2243"/>
                  </a:lnTo>
                  <a:lnTo>
                    <a:pt x="4528" y="2242"/>
                  </a:lnTo>
                  <a:lnTo>
                    <a:pt x="4500" y="2240"/>
                  </a:lnTo>
                  <a:lnTo>
                    <a:pt x="4475" y="2180"/>
                  </a:lnTo>
                  <a:lnTo>
                    <a:pt x="4449" y="2150"/>
                  </a:lnTo>
                  <a:lnTo>
                    <a:pt x="4424" y="2090"/>
                  </a:lnTo>
                  <a:lnTo>
                    <a:pt x="4427" y="2032"/>
                  </a:lnTo>
                  <a:lnTo>
                    <a:pt x="4455" y="2033"/>
                  </a:lnTo>
                  <a:lnTo>
                    <a:pt x="4455" y="2004"/>
                  </a:lnTo>
                  <a:lnTo>
                    <a:pt x="4484" y="2006"/>
                  </a:lnTo>
                  <a:lnTo>
                    <a:pt x="4512" y="2007"/>
                  </a:lnTo>
                  <a:lnTo>
                    <a:pt x="4540" y="2008"/>
                  </a:lnTo>
                  <a:lnTo>
                    <a:pt x="4569" y="1981"/>
                  </a:lnTo>
                  <a:lnTo>
                    <a:pt x="4625" y="1984"/>
                  </a:lnTo>
                  <a:lnTo>
                    <a:pt x="4654" y="1985"/>
                  </a:lnTo>
                  <a:lnTo>
                    <a:pt x="4681" y="1986"/>
                  </a:lnTo>
                  <a:lnTo>
                    <a:pt x="4736" y="1990"/>
                  </a:lnTo>
                  <a:lnTo>
                    <a:pt x="4735" y="2019"/>
                  </a:lnTo>
                  <a:lnTo>
                    <a:pt x="4816" y="2082"/>
                  </a:lnTo>
                  <a:lnTo>
                    <a:pt x="4925" y="2116"/>
                  </a:lnTo>
                  <a:lnTo>
                    <a:pt x="4980" y="2149"/>
                  </a:lnTo>
                  <a:lnTo>
                    <a:pt x="5007" y="2179"/>
                  </a:lnTo>
                  <a:lnTo>
                    <a:pt x="5032" y="2209"/>
                  </a:lnTo>
                  <a:lnTo>
                    <a:pt x="5029" y="2268"/>
                  </a:lnTo>
                  <a:lnTo>
                    <a:pt x="5081" y="2329"/>
                  </a:lnTo>
                  <a:lnTo>
                    <a:pt x="5106" y="2389"/>
                  </a:lnTo>
                  <a:lnTo>
                    <a:pt x="5132" y="2419"/>
                  </a:lnTo>
                  <a:lnTo>
                    <a:pt x="5247" y="2367"/>
                  </a:lnTo>
                  <a:lnTo>
                    <a:pt x="5221" y="2336"/>
                  </a:lnTo>
                  <a:lnTo>
                    <a:pt x="5224" y="2277"/>
                  </a:lnTo>
                  <a:lnTo>
                    <a:pt x="5117" y="2184"/>
                  </a:lnTo>
                  <a:lnTo>
                    <a:pt x="5093" y="2125"/>
                  </a:lnTo>
                  <a:lnTo>
                    <a:pt x="5068" y="2065"/>
                  </a:lnTo>
                  <a:lnTo>
                    <a:pt x="5012" y="2062"/>
                  </a:lnTo>
                  <a:lnTo>
                    <a:pt x="5013" y="2033"/>
                  </a:lnTo>
                  <a:lnTo>
                    <a:pt x="4959" y="2001"/>
                  </a:lnTo>
                  <a:lnTo>
                    <a:pt x="4876" y="1997"/>
                  </a:lnTo>
                  <a:lnTo>
                    <a:pt x="4850" y="1967"/>
                  </a:lnTo>
                  <a:lnTo>
                    <a:pt x="4851" y="1936"/>
                  </a:lnTo>
                  <a:lnTo>
                    <a:pt x="4823" y="1935"/>
                  </a:lnTo>
                  <a:lnTo>
                    <a:pt x="4800" y="1847"/>
                  </a:lnTo>
                  <a:lnTo>
                    <a:pt x="4799" y="1876"/>
                  </a:lnTo>
                  <a:lnTo>
                    <a:pt x="4794" y="1934"/>
                  </a:lnTo>
                  <a:lnTo>
                    <a:pt x="4766" y="1961"/>
                  </a:lnTo>
                  <a:lnTo>
                    <a:pt x="4656" y="1927"/>
                  </a:lnTo>
                  <a:lnTo>
                    <a:pt x="4630" y="1896"/>
                  </a:lnTo>
                  <a:lnTo>
                    <a:pt x="4631" y="1867"/>
                  </a:lnTo>
                  <a:lnTo>
                    <a:pt x="4579" y="1806"/>
                  </a:lnTo>
                  <a:lnTo>
                    <a:pt x="4581" y="1747"/>
                  </a:lnTo>
                  <a:lnTo>
                    <a:pt x="4693" y="1754"/>
                  </a:lnTo>
                  <a:lnTo>
                    <a:pt x="4641" y="1693"/>
                  </a:lnTo>
                  <a:lnTo>
                    <a:pt x="4584" y="1690"/>
                  </a:lnTo>
                  <a:lnTo>
                    <a:pt x="4587" y="1660"/>
                  </a:lnTo>
                  <a:lnTo>
                    <a:pt x="4531" y="1628"/>
                  </a:lnTo>
                  <a:lnTo>
                    <a:pt x="4533" y="1600"/>
                  </a:lnTo>
                  <a:lnTo>
                    <a:pt x="4507" y="1568"/>
                  </a:lnTo>
                  <a:lnTo>
                    <a:pt x="4480" y="1538"/>
                  </a:lnTo>
                  <a:lnTo>
                    <a:pt x="4374" y="1445"/>
                  </a:lnTo>
                  <a:lnTo>
                    <a:pt x="4428" y="1476"/>
                  </a:lnTo>
                  <a:lnTo>
                    <a:pt x="4489" y="1392"/>
                  </a:lnTo>
                  <a:lnTo>
                    <a:pt x="4464" y="1332"/>
                  </a:lnTo>
                  <a:lnTo>
                    <a:pt x="4577" y="1309"/>
                  </a:lnTo>
                  <a:lnTo>
                    <a:pt x="4687" y="1343"/>
                  </a:lnTo>
                  <a:lnTo>
                    <a:pt x="4713" y="1375"/>
                  </a:lnTo>
                  <a:lnTo>
                    <a:pt x="4741" y="1377"/>
                  </a:lnTo>
                  <a:lnTo>
                    <a:pt x="4767" y="1407"/>
                  </a:lnTo>
                  <a:lnTo>
                    <a:pt x="4823" y="1410"/>
                  </a:lnTo>
                  <a:lnTo>
                    <a:pt x="4906" y="1443"/>
                  </a:lnTo>
                  <a:lnTo>
                    <a:pt x="5019" y="1391"/>
                  </a:lnTo>
                  <a:lnTo>
                    <a:pt x="5049" y="1364"/>
                  </a:lnTo>
                  <a:lnTo>
                    <a:pt x="5077" y="1365"/>
                  </a:lnTo>
                  <a:lnTo>
                    <a:pt x="5164" y="1311"/>
                  </a:lnTo>
                  <a:lnTo>
                    <a:pt x="5220" y="1285"/>
                  </a:lnTo>
                  <a:lnTo>
                    <a:pt x="5193" y="1284"/>
                  </a:lnTo>
                  <a:lnTo>
                    <a:pt x="5251" y="1227"/>
                  </a:lnTo>
                  <a:lnTo>
                    <a:pt x="5195" y="1225"/>
                  </a:lnTo>
                  <a:lnTo>
                    <a:pt x="5255" y="1169"/>
                  </a:lnTo>
                  <a:lnTo>
                    <a:pt x="5282" y="1171"/>
                  </a:lnTo>
                  <a:lnTo>
                    <a:pt x="5284" y="1142"/>
                  </a:lnTo>
                  <a:lnTo>
                    <a:pt x="5313" y="1114"/>
                  </a:lnTo>
                  <a:lnTo>
                    <a:pt x="5310" y="1172"/>
                  </a:lnTo>
                  <a:lnTo>
                    <a:pt x="5341" y="1116"/>
                  </a:lnTo>
                  <a:lnTo>
                    <a:pt x="5399" y="1089"/>
                  </a:lnTo>
                  <a:lnTo>
                    <a:pt x="5482" y="1094"/>
                  </a:lnTo>
                  <a:lnTo>
                    <a:pt x="5507" y="1154"/>
                  </a:lnTo>
                  <a:lnTo>
                    <a:pt x="5534" y="1155"/>
                  </a:lnTo>
                  <a:lnTo>
                    <a:pt x="5506" y="1182"/>
                  </a:lnTo>
                  <a:lnTo>
                    <a:pt x="5533" y="1184"/>
                  </a:lnTo>
                  <a:lnTo>
                    <a:pt x="5561" y="1185"/>
                  </a:lnTo>
                  <a:lnTo>
                    <a:pt x="5559" y="1214"/>
                  </a:lnTo>
                  <a:lnTo>
                    <a:pt x="5558" y="1244"/>
                  </a:lnTo>
                  <a:lnTo>
                    <a:pt x="5614" y="1247"/>
                  </a:lnTo>
                  <a:lnTo>
                    <a:pt x="5615" y="1218"/>
                  </a:lnTo>
                  <a:lnTo>
                    <a:pt x="5642" y="1248"/>
                  </a:lnTo>
                  <a:lnTo>
                    <a:pt x="5668" y="1278"/>
                  </a:lnTo>
                  <a:lnTo>
                    <a:pt x="5725" y="1252"/>
                  </a:lnTo>
                  <a:lnTo>
                    <a:pt x="5810" y="1227"/>
                  </a:lnTo>
                  <a:lnTo>
                    <a:pt x="5838" y="1229"/>
                  </a:lnTo>
                  <a:lnTo>
                    <a:pt x="5897" y="1174"/>
                  </a:lnTo>
                  <a:lnTo>
                    <a:pt x="5982" y="1150"/>
                  </a:lnTo>
                  <a:lnTo>
                    <a:pt x="5981" y="1179"/>
                  </a:lnTo>
                  <a:lnTo>
                    <a:pt x="6008" y="1179"/>
                  </a:lnTo>
                  <a:lnTo>
                    <a:pt x="6040" y="1122"/>
                  </a:lnTo>
                  <a:lnTo>
                    <a:pt x="6069" y="1095"/>
                  </a:lnTo>
                  <a:lnTo>
                    <a:pt x="6070" y="1066"/>
                  </a:lnTo>
                  <a:lnTo>
                    <a:pt x="6127" y="1039"/>
                  </a:lnTo>
                  <a:lnTo>
                    <a:pt x="6131" y="982"/>
                  </a:lnTo>
                  <a:lnTo>
                    <a:pt x="6158" y="983"/>
                  </a:lnTo>
                  <a:lnTo>
                    <a:pt x="6108" y="893"/>
                  </a:lnTo>
                  <a:lnTo>
                    <a:pt x="6189" y="927"/>
                  </a:lnTo>
                  <a:lnTo>
                    <a:pt x="6216" y="957"/>
                  </a:lnTo>
                  <a:lnTo>
                    <a:pt x="6186" y="985"/>
                  </a:lnTo>
                  <a:lnTo>
                    <a:pt x="6239" y="1046"/>
                  </a:lnTo>
                  <a:lnTo>
                    <a:pt x="6184" y="1042"/>
                  </a:lnTo>
                  <a:lnTo>
                    <a:pt x="6153" y="1071"/>
                  </a:lnTo>
                  <a:lnTo>
                    <a:pt x="6209" y="1073"/>
                  </a:lnTo>
                  <a:lnTo>
                    <a:pt x="6182" y="1073"/>
                  </a:lnTo>
                  <a:lnTo>
                    <a:pt x="6150" y="1129"/>
                  </a:lnTo>
                  <a:lnTo>
                    <a:pt x="6206" y="1131"/>
                  </a:lnTo>
                  <a:lnTo>
                    <a:pt x="6261" y="1164"/>
                  </a:lnTo>
                  <a:lnTo>
                    <a:pt x="6290" y="1135"/>
                  </a:lnTo>
                  <a:lnTo>
                    <a:pt x="6289" y="1166"/>
                  </a:lnTo>
                  <a:lnTo>
                    <a:pt x="6317" y="1167"/>
                  </a:lnTo>
                  <a:lnTo>
                    <a:pt x="6290" y="1135"/>
                  </a:lnTo>
                  <a:lnTo>
                    <a:pt x="6344" y="1168"/>
                  </a:lnTo>
                  <a:lnTo>
                    <a:pt x="6317" y="1167"/>
                  </a:lnTo>
                  <a:lnTo>
                    <a:pt x="6343" y="1197"/>
                  </a:lnTo>
                  <a:lnTo>
                    <a:pt x="6401" y="1142"/>
                  </a:lnTo>
                  <a:lnTo>
                    <a:pt x="6430" y="1143"/>
                  </a:lnTo>
                  <a:lnTo>
                    <a:pt x="6427" y="1172"/>
                  </a:lnTo>
                  <a:lnTo>
                    <a:pt x="6454" y="1203"/>
                  </a:lnTo>
                  <a:lnTo>
                    <a:pt x="6590" y="1269"/>
                  </a:lnTo>
                  <a:lnTo>
                    <a:pt x="6645" y="1300"/>
                  </a:lnTo>
                  <a:lnTo>
                    <a:pt x="6672" y="1302"/>
                  </a:lnTo>
                  <a:lnTo>
                    <a:pt x="6728" y="1305"/>
                  </a:lnTo>
                  <a:lnTo>
                    <a:pt x="6783" y="1337"/>
                  </a:lnTo>
                  <a:lnTo>
                    <a:pt x="6784" y="1308"/>
                  </a:lnTo>
                  <a:lnTo>
                    <a:pt x="6811" y="1309"/>
                  </a:lnTo>
                  <a:lnTo>
                    <a:pt x="6977" y="1347"/>
                  </a:lnTo>
                  <a:lnTo>
                    <a:pt x="7060" y="1352"/>
                  </a:lnTo>
                  <a:lnTo>
                    <a:pt x="7116" y="1355"/>
                  </a:lnTo>
                  <a:lnTo>
                    <a:pt x="7172" y="1357"/>
                  </a:lnTo>
                  <a:lnTo>
                    <a:pt x="7198" y="1389"/>
                  </a:lnTo>
                  <a:lnTo>
                    <a:pt x="7254" y="1391"/>
                  </a:lnTo>
                  <a:lnTo>
                    <a:pt x="7281" y="1421"/>
                  </a:lnTo>
                  <a:lnTo>
                    <a:pt x="7195" y="1446"/>
                  </a:lnTo>
                  <a:lnTo>
                    <a:pt x="7249" y="1479"/>
                  </a:lnTo>
                  <a:lnTo>
                    <a:pt x="7307" y="1452"/>
                  </a:lnTo>
                  <a:lnTo>
                    <a:pt x="7249" y="1479"/>
                  </a:lnTo>
                  <a:lnTo>
                    <a:pt x="7247" y="1536"/>
                  </a:lnTo>
                  <a:lnTo>
                    <a:pt x="7330" y="1541"/>
                  </a:lnTo>
                  <a:lnTo>
                    <a:pt x="7362" y="1455"/>
                  </a:lnTo>
                  <a:lnTo>
                    <a:pt x="7447" y="1430"/>
                  </a:lnTo>
                  <a:lnTo>
                    <a:pt x="7482" y="1315"/>
                  </a:lnTo>
                  <a:lnTo>
                    <a:pt x="7567" y="1290"/>
                  </a:lnTo>
                  <a:lnTo>
                    <a:pt x="7542" y="1231"/>
                  </a:lnTo>
                  <a:lnTo>
                    <a:pt x="7625" y="1235"/>
                  </a:lnTo>
                  <a:lnTo>
                    <a:pt x="7602" y="1146"/>
                  </a:lnTo>
                  <a:lnTo>
                    <a:pt x="7632" y="1119"/>
                  </a:lnTo>
                  <a:lnTo>
                    <a:pt x="7581" y="1028"/>
                  </a:lnTo>
                  <a:lnTo>
                    <a:pt x="7623" y="738"/>
                  </a:lnTo>
                  <a:lnTo>
                    <a:pt x="7707" y="743"/>
                  </a:lnTo>
                  <a:lnTo>
                    <a:pt x="7791" y="747"/>
                  </a:lnTo>
                  <a:lnTo>
                    <a:pt x="7824" y="632"/>
                  </a:lnTo>
                  <a:lnTo>
                    <a:pt x="7935" y="667"/>
                  </a:lnTo>
                  <a:lnTo>
                    <a:pt x="7993" y="612"/>
                  </a:lnTo>
                  <a:lnTo>
                    <a:pt x="7996" y="554"/>
                  </a:lnTo>
                  <a:lnTo>
                    <a:pt x="7975" y="436"/>
                  </a:lnTo>
                  <a:lnTo>
                    <a:pt x="7959" y="229"/>
                  </a:lnTo>
                  <a:lnTo>
                    <a:pt x="7903" y="198"/>
                  </a:lnTo>
                  <a:lnTo>
                    <a:pt x="7878" y="139"/>
                  </a:lnTo>
                  <a:lnTo>
                    <a:pt x="7633" y="37"/>
                  </a:lnTo>
                  <a:lnTo>
                    <a:pt x="7523" y="2"/>
                  </a:lnTo>
                  <a:lnTo>
                    <a:pt x="7467" y="0"/>
                  </a:lnTo>
                  <a:lnTo>
                    <a:pt x="7351" y="82"/>
                  </a:lnTo>
                  <a:lnTo>
                    <a:pt x="7401" y="200"/>
                  </a:lnTo>
                  <a:lnTo>
                    <a:pt x="7480" y="293"/>
                  </a:lnTo>
                  <a:lnTo>
                    <a:pt x="7449" y="350"/>
                  </a:lnTo>
                  <a:lnTo>
                    <a:pt x="7471" y="468"/>
                  </a:lnTo>
                  <a:lnTo>
                    <a:pt x="7410" y="581"/>
                  </a:lnTo>
                  <a:lnTo>
                    <a:pt x="7325" y="577"/>
                  </a:lnTo>
                  <a:lnTo>
                    <a:pt x="7211" y="601"/>
                  </a:lnTo>
                  <a:lnTo>
                    <a:pt x="7046" y="591"/>
                  </a:lnTo>
                  <a:lnTo>
                    <a:pt x="6932" y="614"/>
                  </a:lnTo>
                  <a:lnTo>
                    <a:pt x="6901" y="672"/>
                  </a:lnTo>
                  <a:lnTo>
                    <a:pt x="6819" y="638"/>
                  </a:lnTo>
                  <a:lnTo>
                    <a:pt x="6708" y="632"/>
                  </a:lnTo>
                  <a:lnTo>
                    <a:pt x="6650" y="658"/>
                  </a:lnTo>
                  <a:lnTo>
                    <a:pt x="6595" y="655"/>
                  </a:lnTo>
                  <a:lnTo>
                    <a:pt x="6424" y="705"/>
                  </a:lnTo>
                  <a:lnTo>
                    <a:pt x="6341" y="700"/>
                  </a:lnTo>
                  <a:lnTo>
                    <a:pt x="6315" y="670"/>
                  </a:lnTo>
                  <a:lnTo>
                    <a:pt x="6236" y="578"/>
                  </a:lnTo>
                  <a:lnTo>
                    <a:pt x="6209" y="548"/>
                  </a:lnTo>
                  <a:lnTo>
                    <a:pt x="6129" y="485"/>
                  </a:lnTo>
                  <a:lnTo>
                    <a:pt x="5938" y="388"/>
                  </a:lnTo>
                  <a:lnTo>
                    <a:pt x="5853" y="412"/>
                  </a:lnTo>
                  <a:lnTo>
                    <a:pt x="5820" y="498"/>
                  </a:lnTo>
                  <a:lnTo>
                    <a:pt x="5741" y="436"/>
                  </a:lnTo>
                  <a:lnTo>
                    <a:pt x="5716" y="376"/>
                  </a:lnTo>
                  <a:lnTo>
                    <a:pt x="5578" y="340"/>
                  </a:lnTo>
                  <a:lnTo>
                    <a:pt x="5531" y="191"/>
                  </a:lnTo>
                  <a:lnTo>
                    <a:pt x="5504" y="160"/>
                  </a:lnTo>
                  <a:lnTo>
                    <a:pt x="5419" y="185"/>
                  </a:lnTo>
                  <a:lnTo>
                    <a:pt x="5364" y="154"/>
                  </a:lnTo>
                  <a:lnTo>
                    <a:pt x="5249" y="205"/>
                  </a:lnTo>
                  <a:lnTo>
                    <a:pt x="5225" y="145"/>
                  </a:lnTo>
                  <a:lnTo>
                    <a:pt x="5170" y="114"/>
                  </a:lnTo>
                  <a:lnTo>
                    <a:pt x="5084" y="167"/>
                  </a:lnTo>
                  <a:lnTo>
                    <a:pt x="5030" y="135"/>
                  </a:lnTo>
                  <a:lnTo>
                    <a:pt x="4945" y="160"/>
                  </a:lnTo>
                  <a:lnTo>
                    <a:pt x="4938" y="276"/>
                  </a:lnTo>
                  <a:lnTo>
                    <a:pt x="4883" y="274"/>
                  </a:lnTo>
                  <a:lnTo>
                    <a:pt x="4826" y="300"/>
                  </a:lnTo>
                  <a:lnTo>
                    <a:pt x="4773" y="238"/>
                  </a:lnTo>
                  <a:lnTo>
                    <a:pt x="4658" y="291"/>
                  </a:lnTo>
                  <a:lnTo>
                    <a:pt x="4602" y="318"/>
                  </a:lnTo>
                  <a:lnTo>
                    <a:pt x="4489" y="341"/>
                  </a:lnTo>
                  <a:lnTo>
                    <a:pt x="4349" y="333"/>
                  </a:lnTo>
                  <a:lnTo>
                    <a:pt x="4347" y="363"/>
                  </a:lnTo>
                  <a:lnTo>
                    <a:pt x="4182" y="325"/>
                  </a:lnTo>
                  <a:lnTo>
                    <a:pt x="4097" y="350"/>
                  </a:lnTo>
                  <a:lnTo>
                    <a:pt x="4042" y="318"/>
                  </a:lnTo>
                  <a:lnTo>
                    <a:pt x="3986" y="343"/>
                  </a:lnTo>
                  <a:lnTo>
                    <a:pt x="3896" y="456"/>
                  </a:lnTo>
                  <a:lnTo>
                    <a:pt x="3840" y="452"/>
                  </a:lnTo>
                  <a:lnTo>
                    <a:pt x="3675" y="415"/>
                  </a:lnTo>
                  <a:lnTo>
                    <a:pt x="3510" y="347"/>
                  </a:lnTo>
                  <a:lnTo>
                    <a:pt x="3452" y="403"/>
                  </a:lnTo>
                  <a:lnTo>
                    <a:pt x="3394" y="430"/>
                  </a:lnTo>
                  <a:lnTo>
                    <a:pt x="3362" y="515"/>
                  </a:lnTo>
                  <a:lnTo>
                    <a:pt x="3416" y="548"/>
                  </a:lnTo>
                  <a:lnTo>
                    <a:pt x="3412" y="635"/>
                  </a:lnTo>
                  <a:lnTo>
                    <a:pt x="3355" y="632"/>
                  </a:lnTo>
                  <a:lnTo>
                    <a:pt x="3327" y="660"/>
                  </a:lnTo>
                  <a:lnTo>
                    <a:pt x="3272" y="628"/>
                  </a:lnTo>
                  <a:lnTo>
                    <a:pt x="3184" y="710"/>
                  </a:lnTo>
                  <a:lnTo>
                    <a:pt x="2989" y="700"/>
                  </a:lnTo>
                  <a:lnTo>
                    <a:pt x="2799" y="603"/>
                  </a:lnTo>
                  <a:lnTo>
                    <a:pt x="2771" y="602"/>
                  </a:lnTo>
                  <a:lnTo>
                    <a:pt x="2742" y="601"/>
                  </a:lnTo>
                  <a:lnTo>
                    <a:pt x="2656" y="654"/>
                  </a:lnTo>
                  <a:lnTo>
                    <a:pt x="2628" y="653"/>
                  </a:lnTo>
                  <a:lnTo>
                    <a:pt x="2575" y="620"/>
                  </a:lnTo>
                  <a:lnTo>
                    <a:pt x="2403" y="670"/>
                  </a:lnTo>
                  <a:lnTo>
                    <a:pt x="2314" y="782"/>
                  </a:lnTo>
                  <a:lnTo>
                    <a:pt x="2140" y="890"/>
                  </a:lnTo>
                  <a:lnTo>
                    <a:pt x="2165" y="949"/>
                  </a:lnTo>
                  <a:lnTo>
                    <a:pt x="2110" y="946"/>
                  </a:lnTo>
                  <a:lnTo>
                    <a:pt x="1994" y="1028"/>
                  </a:lnTo>
                  <a:lnTo>
                    <a:pt x="1966" y="1026"/>
                  </a:lnTo>
                  <a:lnTo>
                    <a:pt x="1885" y="993"/>
                  </a:lnTo>
                  <a:lnTo>
                    <a:pt x="1858" y="963"/>
                  </a:lnTo>
                  <a:lnTo>
                    <a:pt x="1775" y="958"/>
                  </a:lnTo>
                  <a:lnTo>
                    <a:pt x="1632" y="1010"/>
                  </a:lnTo>
                  <a:lnTo>
                    <a:pt x="1602" y="1037"/>
                  </a:lnTo>
                  <a:lnTo>
                    <a:pt x="1493" y="1001"/>
                  </a:lnTo>
                  <a:lnTo>
                    <a:pt x="1436" y="1028"/>
                  </a:lnTo>
                  <a:lnTo>
                    <a:pt x="1240" y="1017"/>
                  </a:lnTo>
                  <a:lnTo>
                    <a:pt x="1233" y="1164"/>
                  </a:lnTo>
                  <a:lnTo>
                    <a:pt x="1281" y="1312"/>
                  </a:lnTo>
                  <a:lnTo>
                    <a:pt x="1309" y="1314"/>
                  </a:lnTo>
                  <a:lnTo>
                    <a:pt x="1249" y="1368"/>
                  </a:lnTo>
                  <a:lnTo>
                    <a:pt x="1301" y="1460"/>
                  </a:lnTo>
                  <a:lnTo>
                    <a:pt x="1243" y="1514"/>
                  </a:lnTo>
                  <a:lnTo>
                    <a:pt x="1266" y="1575"/>
                  </a:lnTo>
                  <a:lnTo>
                    <a:pt x="1180" y="1628"/>
                  </a:lnTo>
                  <a:lnTo>
                    <a:pt x="1069" y="1623"/>
                  </a:lnTo>
                  <a:lnTo>
                    <a:pt x="1011" y="1650"/>
                  </a:lnTo>
                  <a:lnTo>
                    <a:pt x="924" y="1732"/>
                  </a:lnTo>
                  <a:lnTo>
                    <a:pt x="948" y="1791"/>
                  </a:lnTo>
                  <a:lnTo>
                    <a:pt x="944" y="1879"/>
                  </a:lnTo>
                  <a:lnTo>
                    <a:pt x="912" y="1935"/>
                  </a:lnTo>
                  <a:lnTo>
                    <a:pt x="908" y="2023"/>
                  </a:lnTo>
                  <a:lnTo>
                    <a:pt x="848" y="2078"/>
                  </a:lnTo>
                  <a:lnTo>
                    <a:pt x="845" y="2166"/>
                  </a:lnTo>
                  <a:lnTo>
                    <a:pt x="814" y="2222"/>
                  </a:lnTo>
                  <a:lnTo>
                    <a:pt x="756" y="2249"/>
                  </a:lnTo>
                  <a:lnTo>
                    <a:pt x="645" y="2243"/>
                  </a:lnTo>
                  <a:lnTo>
                    <a:pt x="588" y="2269"/>
                  </a:lnTo>
                  <a:lnTo>
                    <a:pt x="531" y="2296"/>
                  </a:lnTo>
                  <a:lnTo>
                    <a:pt x="473" y="2351"/>
                  </a:lnTo>
                  <a:lnTo>
                    <a:pt x="414" y="2377"/>
                  </a:lnTo>
                  <a:lnTo>
                    <a:pt x="461" y="2555"/>
                  </a:lnTo>
                  <a:lnTo>
                    <a:pt x="514" y="2615"/>
                  </a:lnTo>
                  <a:lnTo>
                    <a:pt x="428" y="2640"/>
                  </a:lnTo>
                  <a:lnTo>
                    <a:pt x="425" y="2699"/>
                  </a:lnTo>
                  <a:lnTo>
                    <a:pt x="372" y="2667"/>
                  </a:lnTo>
                  <a:lnTo>
                    <a:pt x="370" y="2696"/>
                  </a:lnTo>
                  <a:lnTo>
                    <a:pt x="366" y="2783"/>
                  </a:lnTo>
                  <a:lnTo>
                    <a:pt x="247" y="2894"/>
                  </a:lnTo>
                  <a:lnTo>
                    <a:pt x="192" y="2891"/>
                  </a:lnTo>
                  <a:lnTo>
                    <a:pt x="84" y="2827"/>
                  </a:lnTo>
                  <a:lnTo>
                    <a:pt x="0" y="2823"/>
                  </a:lnTo>
                  <a:lnTo>
                    <a:pt x="24" y="2883"/>
                  </a:lnTo>
                  <a:lnTo>
                    <a:pt x="82" y="2857"/>
                  </a:lnTo>
                  <a:lnTo>
                    <a:pt x="107" y="2916"/>
                  </a:lnTo>
                  <a:lnTo>
                    <a:pt x="136" y="2888"/>
                  </a:lnTo>
                  <a:lnTo>
                    <a:pt x="217" y="2951"/>
                  </a:lnTo>
                  <a:lnTo>
                    <a:pt x="186" y="3007"/>
                  </a:lnTo>
                  <a:lnTo>
                    <a:pt x="212" y="3038"/>
                  </a:lnTo>
                  <a:lnTo>
                    <a:pt x="183" y="3065"/>
                  </a:lnTo>
                  <a:lnTo>
                    <a:pt x="153" y="3094"/>
                  </a:lnTo>
                  <a:lnTo>
                    <a:pt x="210" y="3097"/>
                  </a:lnTo>
                  <a:lnTo>
                    <a:pt x="179" y="3124"/>
                  </a:lnTo>
                  <a:lnTo>
                    <a:pt x="291" y="3130"/>
                  </a:lnTo>
                  <a:lnTo>
                    <a:pt x="290" y="3159"/>
                  </a:lnTo>
                  <a:lnTo>
                    <a:pt x="234" y="3156"/>
                  </a:lnTo>
                  <a:lnTo>
                    <a:pt x="260" y="3187"/>
                  </a:lnTo>
                  <a:lnTo>
                    <a:pt x="285" y="3217"/>
                  </a:lnTo>
                  <a:lnTo>
                    <a:pt x="314" y="3218"/>
                  </a:lnTo>
                  <a:lnTo>
                    <a:pt x="229" y="3243"/>
                  </a:lnTo>
                  <a:lnTo>
                    <a:pt x="254" y="3304"/>
                  </a:lnTo>
                  <a:lnTo>
                    <a:pt x="310" y="3307"/>
                  </a:lnTo>
                  <a:lnTo>
                    <a:pt x="307" y="3364"/>
                  </a:lnTo>
                  <a:lnTo>
                    <a:pt x="304" y="3423"/>
                  </a:lnTo>
                  <a:lnTo>
                    <a:pt x="384" y="3485"/>
                  </a:lnTo>
                  <a:lnTo>
                    <a:pt x="439" y="3488"/>
                  </a:lnTo>
                  <a:lnTo>
                    <a:pt x="466" y="3519"/>
                  </a:lnTo>
                  <a:lnTo>
                    <a:pt x="494" y="3521"/>
                  </a:lnTo>
                  <a:lnTo>
                    <a:pt x="523" y="3522"/>
                  </a:lnTo>
                  <a:lnTo>
                    <a:pt x="518" y="3581"/>
                  </a:lnTo>
                  <a:lnTo>
                    <a:pt x="546" y="3582"/>
                  </a:lnTo>
                  <a:lnTo>
                    <a:pt x="518" y="3581"/>
                  </a:lnTo>
                  <a:lnTo>
                    <a:pt x="543" y="3640"/>
                  </a:lnTo>
                  <a:lnTo>
                    <a:pt x="598" y="3642"/>
                  </a:lnTo>
                  <a:lnTo>
                    <a:pt x="598" y="3672"/>
                  </a:lnTo>
                  <a:lnTo>
                    <a:pt x="623" y="3732"/>
                  </a:lnTo>
                  <a:lnTo>
                    <a:pt x="702" y="3794"/>
                  </a:lnTo>
                  <a:lnTo>
                    <a:pt x="701" y="3823"/>
                  </a:lnTo>
                  <a:lnTo>
                    <a:pt x="729" y="3825"/>
                  </a:lnTo>
                  <a:lnTo>
                    <a:pt x="781" y="3886"/>
                  </a:lnTo>
                  <a:lnTo>
                    <a:pt x="780" y="3915"/>
                  </a:lnTo>
                  <a:lnTo>
                    <a:pt x="778" y="3944"/>
                  </a:lnTo>
                  <a:lnTo>
                    <a:pt x="777" y="3974"/>
                  </a:lnTo>
                  <a:lnTo>
                    <a:pt x="803" y="4004"/>
                  </a:lnTo>
                  <a:lnTo>
                    <a:pt x="802" y="4033"/>
                  </a:lnTo>
                  <a:lnTo>
                    <a:pt x="830" y="4034"/>
                  </a:lnTo>
                  <a:lnTo>
                    <a:pt x="828" y="4065"/>
                  </a:lnTo>
                  <a:lnTo>
                    <a:pt x="799" y="4092"/>
                  </a:lnTo>
                  <a:lnTo>
                    <a:pt x="825" y="4122"/>
                  </a:lnTo>
                  <a:lnTo>
                    <a:pt x="827" y="4093"/>
                  </a:lnTo>
                  <a:lnTo>
                    <a:pt x="855" y="4095"/>
                  </a:lnTo>
                  <a:lnTo>
                    <a:pt x="824" y="4151"/>
                  </a:lnTo>
                  <a:lnTo>
                    <a:pt x="850" y="4183"/>
                  </a:lnTo>
                  <a:lnTo>
                    <a:pt x="794" y="4179"/>
                  </a:lnTo>
                  <a:lnTo>
                    <a:pt x="761" y="4265"/>
                  </a:lnTo>
                  <a:lnTo>
                    <a:pt x="788" y="4295"/>
                  </a:lnTo>
                  <a:lnTo>
                    <a:pt x="814" y="4325"/>
                  </a:lnTo>
                  <a:lnTo>
                    <a:pt x="813" y="4356"/>
                  </a:lnTo>
                  <a:lnTo>
                    <a:pt x="842" y="4328"/>
                  </a:lnTo>
                  <a:lnTo>
                    <a:pt x="870" y="4329"/>
                  </a:lnTo>
                  <a:lnTo>
                    <a:pt x="872" y="4299"/>
                  </a:lnTo>
                  <a:lnTo>
                    <a:pt x="899" y="4301"/>
                  </a:lnTo>
                  <a:lnTo>
                    <a:pt x="928" y="4303"/>
                  </a:lnTo>
                  <a:lnTo>
                    <a:pt x="925" y="4332"/>
                  </a:lnTo>
                  <a:lnTo>
                    <a:pt x="924" y="4360"/>
                  </a:lnTo>
                  <a:lnTo>
                    <a:pt x="950" y="4391"/>
                  </a:lnTo>
                  <a:lnTo>
                    <a:pt x="948" y="4421"/>
                  </a:lnTo>
                  <a:lnTo>
                    <a:pt x="975" y="4452"/>
                  </a:lnTo>
                  <a:lnTo>
                    <a:pt x="974" y="4480"/>
                  </a:lnTo>
                  <a:lnTo>
                    <a:pt x="1001" y="4481"/>
                  </a:lnTo>
                  <a:lnTo>
                    <a:pt x="1029" y="4483"/>
                  </a:lnTo>
                  <a:lnTo>
                    <a:pt x="1057" y="4485"/>
                  </a:lnTo>
                  <a:lnTo>
                    <a:pt x="1079" y="4603"/>
                  </a:lnTo>
                  <a:lnTo>
                    <a:pt x="1074" y="4719"/>
                  </a:lnTo>
                  <a:lnTo>
                    <a:pt x="1101" y="4721"/>
                  </a:lnTo>
                  <a:lnTo>
                    <a:pt x="1098" y="4779"/>
                  </a:lnTo>
                  <a:lnTo>
                    <a:pt x="1156" y="4724"/>
                  </a:lnTo>
                  <a:lnTo>
                    <a:pt x="1181" y="4783"/>
                  </a:lnTo>
                  <a:lnTo>
                    <a:pt x="1153" y="4782"/>
                  </a:lnTo>
                  <a:lnTo>
                    <a:pt x="1180" y="4813"/>
                  </a:lnTo>
                  <a:lnTo>
                    <a:pt x="1205" y="4872"/>
                  </a:lnTo>
                  <a:lnTo>
                    <a:pt x="1174" y="4900"/>
                  </a:lnTo>
                  <a:lnTo>
                    <a:pt x="1259" y="4903"/>
                  </a:lnTo>
                  <a:lnTo>
                    <a:pt x="1201" y="4931"/>
                  </a:lnTo>
                  <a:lnTo>
                    <a:pt x="1227" y="4961"/>
                  </a:lnTo>
                  <a:lnTo>
                    <a:pt x="1199" y="4960"/>
                  </a:lnTo>
                  <a:lnTo>
                    <a:pt x="1172" y="4959"/>
                  </a:lnTo>
                  <a:lnTo>
                    <a:pt x="1170" y="4987"/>
                  </a:lnTo>
                  <a:lnTo>
                    <a:pt x="1169" y="5017"/>
                  </a:lnTo>
                  <a:lnTo>
                    <a:pt x="1141" y="5015"/>
                  </a:lnTo>
                  <a:lnTo>
                    <a:pt x="1167" y="5045"/>
                  </a:lnTo>
                  <a:lnTo>
                    <a:pt x="1197" y="5018"/>
                  </a:lnTo>
                  <a:lnTo>
                    <a:pt x="1249" y="5079"/>
                  </a:lnTo>
                  <a:lnTo>
                    <a:pt x="1305" y="5082"/>
                  </a:lnTo>
                  <a:lnTo>
                    <a:pt x="1250" y="5050"/>
                  </a:lnTo>
                  <a:lnTo>
                    <a:pt x="1281" y="5023"/>
                  </a:lnTo>
                  <a:lnTo>
                    <a:pt x="1307" y="5053"/>
                  </a:lnTo>
                  <a:lnTo>
                    <a:pt x="1392" y="5028"/>
                  </a:lnTo>
                  <a:lnTo>
                    <a:pt x="1365" y="4998"/>
                  </a:lnTo>
                  <a:lnTo>
                    <a:pt x="1421" y="5000"/>
                  </a:lnTo>
                  <a:lnTo>
                    <a:pt x="1480" y="4946"/>
                  </a:lnTo>
                  <a:lnTo>
                    <a:pt x="1483" y="4887"/>
                  </a:lnTo>
                  <a:lnTo>
                    <a:pt x="1485" y="4857"/>
                  </a:lnTo>
                  <a:lnTo>
                    <a:pt x="1483" y="4887"/>
                  </a:lnTo>
                  <a:lnTo>
                    <a:pt x="1508" y="4947"/>
                  </a:lnTo>
                  <a:lnTo>
                    <a:pt x="1534" y="4977"/>
                  </a:lnTo>
                  <a:lnTo>
                    <a:pt x="1562" y="4978"/>
                  </a:lnTo>
                  <a:lnTo>
                    <a:pt x="1558" y="5066"/>
                  </a:lnTo>
                  <a:lnTo>
                    <a:pt x="1586" y="5067"/>
                  </a:lnTo>
                  <a:lnTo>
                    <a:pt x="1638" y="5129"/>
                  </a:lnTo>
                  <a:lnTo>
                    <a:pt x="1667" y="5102"/>
                  </a:lnTo>
                  <a:lnTo>
                    <a:pt x="1696" y="5073"/>
                  </a:lnTo>
                  <a:lnTo>
                    <a:pt x="1752" y="5077"/>
                  </a:lnTo>
                  <a:lnTo>
                    <a:pt x="1754" y="5046"/>
                  </a:lnTo>
                  <a:lnTo>
                    <a:pt x="1782" y="5048"/>
                  </a:lnTo>
                  <a:lnTo>
                    <a:pt x="1865" y="5053"/>
                  </a:lnTo>
                  <a:lnTo>
                    <a:pt x="1919" y="5085"/>
                  </a:lnTo>
                  <a:lnTo>
                    <a:pt x="1948" y="5086"/>
                  </a:lnTo>
                  <a:lnTo>
                    <a:pt x="1976" y="5058"/>
                  </a:lnTo>
                  <a:lnTo>
                    <a:pt x="2006" y="5030"/>
                  </a:lnTo>
                  <a:lnTo>
                    <a:pt x="2035" y="5003"/>
                  </a:lnTo>
                  <a:lnTo>
                    <a:pt x="2037" y="4974"/>
                  </a:lnTo>
                  <a:close/>
                </a:path>
              </a:pathLst>
            </a:custGeom>
            <a:solidFill>
              <a:srgbClr val="B2C2D1"/>
            </a:solidFill>
            <a:ln w="9525">
              <a:noFill/>
              <a:round/>
              <a:headEnd/>
              <a:tailEnd/>
            </a:ln>
          </p:spPr>
          <p:txBody>
            <a:bodyPr/>
            <a:lstStyle/>
            <a:p>
              <a:endParaRPr lang="el-GR"/>
            </a:p>
          </p:txBody>
        </p:sp>
        <p:sp>
          <p:nvSpPr>
            <p:cNvPr id="289" name="Freeform 166"/>
            <p:cNvSpPr>
              <a:spLocks/>
            </p:cNvSpPr>
            <p:nvPr/>
          </p:nvSpPr>
          <p:spPr bwMode="auto">
            <a:xfrm>
              <a:off x="1892" y="824"/>
              <a:ext cx="1904" cy="1495"/>
            </a:xfrm>
            <a:custGeom>
              <a:avLst/>
              <a:gdLst>
                <a:gd name="T0" fmla="*/ 145 w 7996"/>
                <a:gd name="T1" fmla="*/ 289 h 6275"/>
                <a:gd name="T2" fmla="*/ 164 w 7996"/>
                <a:gd name="T3" fmla="*/ 293 h 6275"/>
                <a:gd name="T4" fmla="*/ 180 w 7996"/>
                <a:gd name="T5" fmla="*/ 297 h 6275"/>
                <a:gd name="T6" fmla="*/ 194 w 7996"/>
                <a:gd name="T7" fmla="*/ 305 h 6275"/>
                <a:gd name="T8" fmla="*/ 196 w 7996"/>
                <a:gd name="T9" fmla="*/ 318 h 6275"/>
                <a:gd name="T10" fmla="*/ 192 w 7996"/>
                <a:gd name="T11" fmla="*/ 329 h 6275"/>
                <a:gd name="T12" fmla="*/ 223 w 7996"/>
                <a:gd name="T13" fmla="*/ 321 h 6275"/>
                <a:gd name="T14" fmla="*/ 241 w 7996"/>
                <a:gd name="T15" fmla="*/ 339 h 6275"/>
                <a:gd name="T16" fmla="*/ 259 w 7996"/>
                <a:gd name="T17" fmla="*/ 356 h 6275"/>
                <a:gd name="T18" fmla="*/ 259 w 7996"/>
                <a:gd name="T19" fmla="*/ 331 h 6275"/>
                <a:gd name="T20" fmla="*/ 263 w 7996"/>
                <a:gd name="T21" fmla="*/ 307 h 6275"/>
                <a:gd name="T22" fmla="*/ 233 w 7996"/>
                <a:gd name="T23" fmla="*/ 280 h 6275"/>
                <a:gd name="T24" fmla="*/ 216 w 7996"/>
                <a:gd name="T25" fmla="*/ 269 h 6275"/>
                <a:gd name="T26" fmla="*/ 199 w 7996"/>
                <a:gd name="T27" fmla="*/ 260 h 6275"/>
                <a:gd name="T28" fmla="*/ 170 w 7996"/>
                <a:gd name="T29" fmla="*/ 245 h 6275"/>
                <a:gd name="T30" fmla="*/ 186 w 7996"/>
                <a:gd name="T31" fmla="*/ 241 h 6275"/>
                <a:gd name="T32" fmla="*/ 193 w 7996"/>
                <a:gd name="T33" fmla="*/ 222 h 6275"/>
                <a:gd name="T34" fmla="*/ 192 w 7996"/>
                <a:gd name="T35" fmla="*/ 203 h 6275"/>
                <a:gd name="T36" fmla="*/ 206 w 7996"/>
                <a:gd name="T37" fmla="*/ 221 h 6275"/>
                <a:gd name="T38" fmla="*/ 213 w 7996"/>
                <a:gd name="T39" fmla="*/ 201 h 6275"/>
                <a:gd name="T40" fmla="*/ 190 w 7996"/>
                <a:gd name="T41" fmla="*/ 158 h 6275"/>
                <a:gd name="T42" fmla="*/ 178 w 7996"/>
                <a:gd name="T43" fmla="*/ 113 h 6275"/>
                <a:gd name="T44" fmla="*/ 184 w 7996"/>
                <a:gd name="T45" fmla="*/ 95 h 6275"/>
                <a:gd name="T46" fmla="*/ 200 w 7996"/>
                <a:gd name="T47" fmla="*/ 91 h 6275"/>
                <a:gd name="T48" fmla="*/ 198 w 7996"/>
                <a:gd name="T49" fmla="*/ 107 h 6275"/>
                <a:gd name="T50" fmla="*/ 225 w 7996"/>
                <a:gd name="T51" fmla="*/ 136 h 6275"/>
                <a:gd name="T52" fmla="*/ 251 w 7996"/>
                <a:gd name="T53" fmla="*/ 152 h 6275"/>
                <a:gd name="T54" fmla="*/ 225 w 7996"/>
                <a:gd name="T55" fmla="*/ 124 h 6275"/>
                <a:gd name="T56" fmla="*/ 256 w 7996"/>
                <a:gd name="T57" fmla="*/ 139 h 6275"/>
                <a:gd name="T58" fmla="*/ 268 w 7996"/>
                <a:gd name="T59" fmla="*/ 146 h 6275"/>
                <a:gd name="T60" fmla="*/ 251 w 7996"/>
                <a:gd name="T61" fmla="*/ 119 h 6275"/>
                <a:gd name="T62" fmla="*/ 279 w 7996"/>
                <a:gd name="T63" fmla="*/ 120 h 6275"/>
                <a:gd name="T64" fmla="*/ 284 w 7996"/>
                <a:gd name="T65" fmla="*/ 117 h 6275"/>
                <a:gd name="T66" fmla="*/ 260 w 7996"/>
                <a:gd name="T67" fmla="*/ 102 h 6275"/>
                <a:gd name="T68" fmla="*/ 260 w 7996"/>
                <a:gd name="T69" fmla="*/ 74 h 6275"/>
                <a:gd name="T70" fmla="*/ 295 w 7996"/>
                <a:gd name="T71" fmla="*/ 70 h 6275"/>
                <a:gd name="T72" fmla="*/ 315 w 7996"/>
                <a:gd name="T73" fmla="*/ 69 h 6275"/>
                <a:gd name="T74" fmla="*/ 344 w 7996"/>
                <a:gd name="T75" fmla="*/ 62 h 6275"/>
                <a:gd name="T76" fmla="*/ 349 w 7996"/>
                <a:gd name="T77" fmla="*/ 64 h 6275"/>
                <a:gd name="T78" fmla="*/ 374 w 7996"/>
                <a:gd name="T79" fmla="*/ 72 h 6275"/>
                <a:gd name="T80" fmla="*/ 408 w 7996"/>
                <a:gd name="T81" fmla="*/ 82 h 6275"/>
                <a:gd name="T82" fmla="*/ 430 w 7996"/>
                <a:gd name="T83" fmla="*/ 58 h 6275"/>
                <a:gd name="T84" fmla="*/ 423 w 7996"/>
                <a:gd name="T85" fmla="*/ 0 h 6275"/>
                <a:gd name="T86" fmla="*/ 377 w 7996"/>
                <a:gd name="T87" fmla="*/ 37 h 6275"/>
                <a:gd name="T88" fmla="*/ 314 w 7996"/>
                <a:gd name="T89" fmla="*/ 11 h 6275"/>
                <a:gd name="T90" fmla="*/ 264 w 7996"/>
                <a:gd name="T91" fmla="*/ 16 h 6275"/>
                <a:gd name="T92" fmla="*/ 192 w 7996"/>
                <a:gd name="T93" fmla="*/ 24 h 6275"/>
                <a:gd name="T94" fmla="*/ 146 w 7996"/>
                <a:gd name="T95" fmla="*/ 35 h 6275"/>
                <a:gd name="T96" fmla="*/ 81 w 7996"/>
                <a:gd name="T97" fmla="*/ 58 h 6275"/>
                <a:gd name="T98" fmla="*/ 54 w 7996"/>
                <a:gd name="T99" fmla="*/ 107 h 6275"/>
                <a:gd name="T100" fmla="*/ 24 w 7996"/>
                <a:gd name="T101" fmla="*/ 150 h 6275"/>
                <a:gd name="T102" fmla="*/ 10 w 7996"/>
                <a:gd name="T103" fmla="*/ 171 h 6275"/>
                <a:gd name="T104" fmla="*/ 18 w 7996"/>
                <a:gd name="T105" fmla="*/ 188 h 6275"/>
                <a:gd name="T106" fmla="*/ 35 w 7996"/>
                <a:gd name="T107" fmla="*/ 212 h 6275"/>
                <a:gd name="T108" fmla="*/ 47 w 7996"/>
                <a:gd name="T109" fmla="*/ 232 h 6275"/>
                <a:gd name="T110" fmla="*/ 52 w 7996"/>
                <a:gd name="T111" fmla="*/ 246 h 6275"/>
                <a:gd name="T112" fmla="*/ 67 w 7996"/>
                <a:gd name="T113" fmla="*/ 272 h 6275"/>
                <a:gd name="T114" fmla="*/ 68 w 7996"/>
                <a:gd name="T115" fmla="*/ 285 h 6275"/>
                <a:gd name="T116" fmla="*/ 87 w 7996"/>
                <a:gd name="T117" fmla="*/ 283 h 6275"/>
                <a:gd name="T118" fmla="*/ 114 w 7996"/>
                <a:gd name="T119" fmla="*/ 285 h 627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996"/>
                <a:gd name="T181" fmla="*/ 0 h 6275"/>
                <a:gd name="T182" fmla="*/ 7996 w 7996"/>
                <a:gd name="T183" fmla="*/ 6275 h 627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996" h="6275">
                  <a:moveTo>
                    <a:pt x="2037" y="4974"/>
                  </a:moveTo>
                  <a:lnTo>
                    <a:pt x="2147" y="5008"/>
                  </a:lnTo>
                  <a:lnTo>
                    <a:pt x="2176" y="4981"/>
                  </a:lnTo>
                  <a:lnTo>
                    <a:pt x="2232" y="4984"/>
                  </a:lnTo>
                  <a:lnTo>
                    <a:pt x="2261" y="4986"/>
                  </a:lnTo>
                  <a:lnTo>
                    <a:pt x="2315" y="4989"/>
                  </a:lnTo>
                  <a:lnTo>
                    <a:pt x="2342" y="5019"/>
                  </a:lnTo>
                  <a:lnTo>
                    <a:pt x="2396" y="5052"/>
                  </a:lnTo>
                  <a:lnTo>
                    <a:pt x="2395" y="5080"/>
                  </a:lnTo>
                  <a:lnTo>
                    <a:pt x="2424" y="5053"/>
                  </a:lnTo>
                  <a:lnTo>
                    <a:pt x="2449" y="5113"/>
                  </a:lnTo>
                  <a:lnTo>
                    <a:pt x="2477" y="5085"/>
                  </a:lnTo>
                  <a:lnTo>
                    <a:pt x="2507" y="5057"/>
                  </a:lnTo>
                  <a:lnTo>
                    <a:pt x="2562" y="5090"/>
                  </a:lnTo>
                  <a:lnTo>
                    <a:pt x="2591" y="5061"/>
                  </a:lnTo>
                  <a:lnTo>
                    <a:pt x="2617" y="5092"/>
                  </a:lnTo>
                  <a:lnTo>
                    <a:pt x="2645" y="5094"/>
                  </a:lnTo>
                  <a:lnTo>
                    <a:pt x="2672" y="5124"/>
                  </a:lnTo>
                  <a:lnTo>
                    <a:pt x="2703" y="5039"/>
                  </a:lnTo>
                  <a:lnTo>
                    <a:pt x="2677" y="5007"/>
                  </a:lnTo>
                  <a:lnTo>
                    <a:pt x="2707" y="4980"/>
                  </a:lnTo>
                  <a:lnTo>
                    <a:pt x="2709" y="4951"/>
                  </a:lnTo>
                  <a:lnTo>
                    <a:pt x="2763" y="4984"/>
                  </a:lnTo>
                  <a:lnTo>
                    <a:pt x="2790" y="5014"/>
                  </a:lnTo>
                  <a:lnTo>
                    <a:pt x="2816" y="5015"/>
                  </a:lnTo>
                  <a:lnTo>
                    <a:pt x="2868" y="5105"/>
                  </a:lnTo>
                  <a:lnTo>
                    <a:pt x="2840" y="5104"/>
                  </a:lnTo>
                  <a:lnTo>
                    <a:pt x="2893" y="5165"/>
                  </a:lnTo>
                  <a:lnTo>
                    <a:pt x="2891" y="5195"/>
                  </a:lnTo>
                  <a:lnTo>
                    <a:pt x="2919" y="5196"/>
                  </a:lnTo>
                  <a:lnTo>
                    <a:pt x="2950" y="5138"/>
                  </a:lnTo>
                  <a:lnTo>
                    <a:pt x="2922" y="5137"/>
                  </a:lnTo>
                  <a:lnTo>
                    <a:pt x="2925" y="5079"/>
                  </a:lnTo>
                  <a:lnTo>
                    <a:pt x="2952" y="5080"/>
                  </a:lnTo>
                  <a:lnTo>
                    <a:pt x="2981" y="5082"/>
                  </a:lnTo>
                  <a:lnTo>
                    <a:pt x="2983" y="5053"/>
                  </a:lnTo>
                  <a:lnTo>
                    <a:pt x="2958" y="4993"/>
                  </a:lnTo>
                  <a:lnTo>
                    <a:pt x="3037" y="5085"/>
                  </a:lnTo>
                  <a:lnTo>
                    <a:pt x="3035" y="5113"/>
                  </a:lnTo>
                  <a:lnTo>
                    <a:pt x="3062" y="5145"/>
                  </a:lnTo>
                  <a:lnTo>
                    <a:pt x="3115" y="5207"/>
                  </a:lnTo>
                  <a:lnTo>
                    <a:pt x="3168" y="5238"/>
                  </a:lnTo>
                  <a:lnTo>
                    <a:pt x="3139" y="5266"/>
                  </a:lnTo>
                  <a:lnTo>
                    <a:pt x="3165" y="5296"/>
                  </a:lnTo>
                  <a:lnTo>
                    <a:pt x="3277" y="5302"/>
                  </a:lnTo>
                  <a:lnTo>
                    <a:pt x="3274" y="5360"/>
                  </a:lnTo>
                  <a:lnTo>
                    <a:pt x="3328" y="5362"/>
                  </a:lnTo>
                  <a:lnTo>
                    <a:pt x="3356" y="5365"/>
                  </a:lnTo>
                  <a:lnTo>
                    <a:pt x="3359" y="5335"/>
                  </a:lnTo>
                  <a:lnTo>
                    <a:pt x="3303" y="5332"/>
                  </a:lnTo>
                  <a:lnTo>
                    <a:pt x="3304" y="5303"/>
                  </a:lnTo>
                  <a:lnTo>
                    <a:pt x="3333" y="5305"/>
                  </a:lnTo>
                  <a:lnTo>
                    <a:pt x="3387" y="5337"/>
                  </a:lnTo>
                  <a:lnTo>
                    <a:pt x="3415" y="5337"/>
                  </a:lnTo>
                  <a:lnTo>
                    <a:pt x="3468" y="5371"/>
                  </a:lnTo>
                  <a:lnTo>
                    <a:pt x="3413" y="5368"/>
                  </a:lnTo>
                  <a:lnTo>
                    <a:pt x="3495" y="5401"/>
                  </a:lnTo>
                  <a:lnTo>
                    <a:pt x="3496" y="5372"/>
                  </a:lnTo>
                  <a:lnTo>
                    <a:pt x="3526" y="5344"/>
                  </a:lnTo>
                  <a:lnTo>
                    <a:pt x="3552" y="5374"/>
                  </a:lnTo>
                  <a:lnTo>
                    <a:pt x="3551" y="5404"/>
                  </a:lnTo>
                  <a:lnTo>
                    <a:pt x="3578" y="5406"/>
                  </a:lnTo>
                  <a:lnTo>
                    <a:pt x="3605" y="5407"/>
                  </a:lnTo>
                  <a:lnTo>
                    <a:pt x="3661" y="5439"/>
                  </a:lnTo>
                  <a:lnTo>
                    <a:pt x="3603" y="5465"/>
                  </a:lnTo>
                  <a:lnTo>
                    <a:pt x="3629" y="5496"/>
                  </a:lnTo>
                  <a:lnTo>
                    <a:pt x="3628" y="5525"/>
                  </a:lnTo>
                  <a:lnTo>
                    <a:pt x="3571" y="5551"/>
                  </a:lnTo>
                  <a:lnTo>
                    <a:pt x="3403" y="5542"/>
                  </a:lnTo>
                  <a:lnTo>
                    <a:pt x="3456" y="5604"/>
                  </a:lnTo>
                  <a:lnTo>
                    <a:pt x="3376" y="5541"/>
                  </a:lnTo>
                  <a:lnTo>
                    <a:pt x="3403" y="5571"/>
                  </a:lnTo>
                  <a:lnTo>
                    <a:pt x="3348" y="5539"/>
                  </a:lnTo>
                  <a:lnTo>
                    <a:pt x="3320" y="5538"/>
                  </a:lnTo>
                  <a:lnTo>
                    <a:pt x="3263" y="5564"/>
                  </a:lnTo>
                  <a:lnTo>
                    <a:pt x="3233" y="5592"/>
                  </a:lnTo>
                  <a:lnTo>
                    <a:pt x="3204" y="5620"/>
                  </a:lnTo>
                  <a:lnTo>
                    <a:pt x="3260" y="5622"/>
                  </a:lnTo>
                  <a:lnTo>
                    <a:pt x="3286" y="5654"/>
                  </a:lnTo>
                  <a:lnTo>
                    <a:pt x="3312" y="5684"/>
                  </a:lnTo>
                  <a:lnTo>
                    <a:pt x="3339" y="5714"/>
                  </a:lnTo>
                  <a:lnTo>
                    <a:pt x="3311" y="5713"/>
                  </a:lnTo>
                  <a:lnTo>
                    <a:pt x="3309" y="5741"/>
                  </a:lnTo>
                  <a:lnTo>
                    <a:pt x="3390" y="5805"/>
                  </a:lnTo>
                  <a:lnTo>
                    <a:pt x="3445" y="5807"/>
                  </a:lnTo>
                  <a:lnTo>
                    <a:pt x="3501" y="5809"/>
                  </a:lnTo>
                  <a:lnTo>
                    <a:pt x="3529" y="5812"/>
                  </a:lnTo>
                  <a:lnTo>
                    <a:pt x="3560" y="5755"/>
                  </a:lnTo>
                  <a:lnTo>
                    <a:pt x="3563" y="5697"/>
                  </a:lnTo>
                  <a:lnTo>
                    <a:pt x="3644" y="5730"/>
                  </a:lnTo>
                  <a:lnTo>
                    <a:pt x="3729" y="5735"/>
                  </a:lnTo>
                  <a:lnTo>
                    <a:pt x="3786" y="5709"/>
                  </a:lnTo>
                  <a:lnTo>
                    <a:pt x="3812" y="5738"/>
                  </a:lnTo>
                  <a:lnTo>
                    <a:pt x="3840" y="5740"/>
                  </a:lnTo>
                  <a:lnTo>
                    <a:pt x="3867" y="5741"/>
                  </a:lnTo>
                  <a:lnTo>
                    <a:pt x="3842" y="5712"/>
                  </a:lnTo>
                  <a:lnTo>
                    <a:pt x="3871" y="5684"/>
                  </a:lnTo>
                  <a:lnTo>
                    <a:pt x="3928" y="5657"/>
                  </a:lnTo>
                  <a:lnTo>
                    <a:pt x="3986" y="5632"/>
                  </a:lnTo>
                  <a:lnTo>
                    <a:pt x="4014" y="5632"/>
                  </a:lnTo>
                  <a:lnTo>
                    <a:pt x="4069" y="5635"/>
                  </a:lnTo>
                  <a:lnTo>
                    <a:pt x="4097" y="5637"/>
                  </a:lnTo>
                  <a:lnTo>
                    <a:pt x="4068" y="5664"/>
                  </a:lnTo>
                  <a:lnTo>
                    <a:pt x="4039" y="5691"/>
                  </a:lnTo>
                  <a:lnTo>
                    <a:pt x="4035" y="5750"/>
                  </a:lnTo>
                  <a:lnTo>
                    <a:pt x="4061" y="5781"/>
                  </a:lnTo>
                  <a:lnTo>
                    <a:pt x="4089" y="5783"/>
                  </a:lnTo>
                  <a:lnTo>
                    <a:pt x="4114" y="5843"/>
                  </a:lnTo>
                  <a:lnTo>
                    <a:pt x="4171" y="5816"/>
                  </a:lnTo>
                  <a:lnTo>
                    <a:pt x="4221" y="5936"/>
                  </a:lnTo>
                  <a:lnTo>
                    <a:pt x="4249" y="5937"/>
                  </a:lnTo>
                  <a:lnTo>
                    <a:pt x="4246" y="5966"/>
                  </a:lnTo>
                  <a:lnTo>
                    <a:pt x="4275" y="5967"/>
                  </a:lnTo>
                  <a:lnTo>
                    <a:pt x="4245" y="5996"/>
                  </a:lnTo>
                  <a:lnTo>
                    <a:pt x="4274" y="5997"/>
                  </a:lnTo>
                  <a:lnTo>
                    <a:pt x="4271" y="6026"/>
                  </a:lnTo>
                  <a:lnTo>
                    <a:pt x="4300" y="6027"/>
                  </a:lnTo>
                  <a:lnTo>
                    <a:pt x="4330" y="5999"/>
                  </a:lnTo>
                  <a:lnTo>
                    <a:pt x="4357" y="6001"/>
                  </a:lnTo>
                  <a:lnTo>
                    <a:pt x="4409" y="6063"/>
                  </a:lnTo>
                  <a:lnTo>
                    <a:pt x="4406" y="6150"/>
                  </a:lnTo>
                  <a:lnTo>
                    <a:pt x="4433" y="6150"/>
                  </a:lnTo>
                  <a:lnTo>
                    <a:pt x="4461" y="6153"/>
                  </a:lnTo>
                  <a:lnTo>
                    <a:pt x="4455" y="6240"/>
                  </a:lnTo>
                  <a:lnTo>
                    <a:pt x="4512" y="6243"/>
                  </a:lnTo>
                  <a:lnTo>
                    <a:pt x="4566" y="6275"/>
                  </a:lnTo>
                  <a:lnTo>
                    <a:pt x="4568" y="6246"/>
                  </a:lnTo>
                  <a:lnTo>
                    <a:pt x="4595" y="6247"/>
                  </a:lnTo>
                  <a:lnTo>
                    <a:pt x="4624" y="6220"/>
                  </a:lnTo>
                  <a:lnTo>
                    <a:pt x="4628" y="6161"/>
                  </a:lnTo>
                  <a:lnTo>
                    <a:pt x="4600" y="6160"/>
                  </a:lnTo>
                  <a:lnTo>
                    <a:pt x="4631" y="6103"/>
                  </a:lnTo>
                  <a:lnTo>
                    <a:pt x="4634" y="6044"/>
                  </a:lnTo>
                  <a:lnTo>
                    <a:pt x="4609" y="5985"/>
                  </a:lnTo>
                  <a:lnTo>
                    <a:pt x="4613" y="5926"/>
                  </a:lnTo>
                  <a:lnTo>
                    <a:pt x="4584" y="5925"/>
                  </a:lnTo>
                  <a:lnTo>
                    <a:pt x="4557" y="5895"/>
                  </a:lnTo>
                  <a:lnTo>
                    <a:pt x="4614" y="5898"/>
                  </a:lnTo>
                  <a:lnTo>
                    <a:pt x="4589" y="5838"/>
                  </a:lnTo>
                  <a:lnTo>
                    <a:pt x="4561" y="5836"/>
                  </a:lnTo>
                  <a:lnTo>
                    <a:pt x="4591" y="5808"/>
                  </a:lnTo>
                  <a:lnTo>
                    <a:pt x="4566" y="5749"/>
                  </a:lnTo>
                  <a:lnTo>
                    <a:pt x="4595" y="5722"/>
                  </a:lnTo>
                  <a:lnTo>
                    <a:pt x="4596" y="5691"/>
                  </a:lnTo>
                  <a:lnTo>
                    <a:pt x="4568" y="5690"/>
                  </a:lnTo>
                  <a:lnTo>
                    <a:pt x="4571" y="5632"/>
                  </a:lnTo>
                  <a:lnTo>
                    <a:pt x="4546" y="5572"/>
                  </a:lnTo>
                  <a:lnTo>
                    <a:pt x="4578" y="5516"/>
                  </a:lnTo>
                  <a:lnTo>
                    <a:pt x="4607" y="5489"/>
                  </a:lnTo>
                  <a:lnTo>
                    <a:pt x="4633" y="5519"/>
                  </a:lnTo>
                  <a:lnTo>
                    <a:pt x="4635" y="5490"/>
                  </a:lnTo>
                  <a:lnTo>
                    <a:pt x="4664" y="5462"/>
                  </a:lnTo>
                  <a:lnTo>
                    <a:pt x="4638" y="5432"/>
                  </a:lnTo>
                  <a:lnTo>
                    <a:pt x="4641" y="5402"/>
                  </a:lnTo>
                  <a:lnTo>
                    <a:pt x="4588" y="5341"/>
                  </a:lnTo>
                  <a:lnTo>
                    <a:pt x="4537" y="5251"/>
                  </a:lnTo>
                  <a:lnTo>
                    <a:pt x="4480" y="5248"/>
                  </a:lnTo>
                  <a:lnTo>
                    <a:pt x="4398" y="5214"/>
                  </a:lnTo>
                  <a:lnTo>
                    <a:pt x="4370" y="5213"/>
                  </a:lnTo>
                  <a:lnTo>
                    <a:pt x="4289" y="5179"/>
                  </a:lnTo>
                  <a:lnTo>
                    <a:pt x="4288" y="5209"/>
                  </a:lnTo>
                  <a:lnTo>
                    <a:pt x="4179" y="5145"/>
                  </a:lnTo>
                  <a:lnTo>
                    <a:pt x="4206" y="5146"/>
                  </a:lnTo>
                  <a:lnTo>
                    <a:pt x="4154" y="5085"/>
                  </a:lnTo>
                  <a:lnTo>
                    <a:pt x="4128" y="5054"/>
                  </a:lnTo>
                  <a:lnTo>
                    <a:pt x="4130" y="5025"/>
                  </a:lnTo>
                  <a:lnTo>
                    <a:pt x="4104" y="4995"/>
                  </a:lnTo>
                  <a:lnTo>
                    <a:pt x="4106" y="4936"/>
                  </a:lnTo>
                  <a:lnTo>
                    <a:pt x="4080" y="4906"/>
                  </a:lnTo>
                  <a:lnTo>
                    <a:pt x="4081" y="4877"/>
                  </a:lnTo>
                  <a:lnTo>
                    <a:pt x="4054" y="4875"/>
                  </a:lnTo>
                  <a:lnTo>
                    <a:pt x="4022" y="4932"/>
                  </a:lnTo>
                  <a:lnTo>
                    <a:pt x="3967" y="4928"/>
                  </a:lnTo>
                  <a:lnTo>
                    <a:pt x="3941" y="4899"/>
                  </a:lnTo>
                  <a:lnTo>
                    <a:pt x="3913" y="4897"/>
                  </a:lnTo>
                  <a:lnTo>
                    <a:pt x="3914" y="4868"/>
                  </a:lnTo>
                  <a:lnTo>
                    <a:pt x="3858" y="4866"/>
                  </a:lnTo>
                  <a:lnTo>
                    <a:pt x="3747" y="4859"/>
                  </a:lnTo>
                  <a:lnTo>
                    <a:pt x="3886" y="4866"/>
                  </a:lnTo>
                  <a:lnTo>
                    <a:pt x="3860" y="4835"/>
                  </a:lnTo>
                  <a:lnTo>
                    <a:pt x="3832" y="4834"/>
                  </a:lnTo>
                  <a:lnTo>
                    <a:pt x="3809" y="4745"/>
                  </a:lnTo>
                  <a:lnTo>
                    <a:pt x="3838" y="4717"/>
                  </a:lnTo>
                  <a:lnTo>
                    <a:pt x="3840" y="4689"/>
                  </a:lnTo>
                  <a:lnTo>
                    <a:pt x="3785" y="4657"/>
                  </a:lnTo>
                  <a:lnTo>
                    <a:pt x="3729" y="4653"/>
                  </a:lnTo>
                  <a:lnTo>
                    <a:pt x="3678" y="4593"/>
                  </a:lnTo>
                  <a:lnTo>
                    <a:pt x="3648" y="4620"/>
                  </a:lnTo>
                  <a:lnTo>
                    <a:pt x="3676" y="4621"/>
                  </a:lnTo>
                  <a:lnTo>
                    <a:pt x="3675" y="4651"/>
                  </a:lnTo>
                  <a:lnTo>
                    <a:pt x="3618" y="4648"/>
                  </a:lnTo>
                  <a:lnTo>
                    <a:pt x="3561" y="4674"/>
                  </a:lnTo>
                  <a:lnTo>
                    <a:pt x="3535" y="4643"/>
                  </a:lnTo>
                  <a:lnTo>
                    <a:pt x="3563" y="4645"/>
                  </a:lnTo>
                  <a:lnTo>
                    <a:pt x="3536" y="4614"/>
                  </a:lnTo>
                  <a:lnTo>
                    <a:pt x="3510" y="4583"/>
                  </a:lnTo>
                  <a:lnTo>
                    <a:pt x="3513" y="4525"/>
                  </a:lnTo>
                  <a:lnTo>
                    <a:pt x="3488" y="4465"/>
                  </a:lnTo>
                  <a:lnTo>
                    <a:pt x="3432" y="4463"/>
                  </a:lnTo>
                  <a:lnTo>
                    <a:pt x="3404" y="4462"/>
                  </a:lnTo>
                  <a:lnTo>
                    <a:pt x="3351" y="4429"/>
                  </a:lnTo>
                  <a:lnTo>
                    <a:pt x="3323" y="4428"/>
                  </a:lnTo>
                  <a:lnTo>
                    <a:pt x="3294" y="4455"/>
                  </a:lnTo>
                  <a:lnTo>
                    <a:pt x="3241" y="4394"/>
                  </a:lnTo>
                  <a:lnTo>
                    <a:pt x="3183" y="4421"/>
                  </a:lnTo>
                  <a:lnTo>
                    <a:pt x="3130" y="4359"/>
                  </a:lnTo>
                  <a:lnTo>
                    <a:pt x="3103" y="4359"/>
                  </a:lnTo>
                  <a:lnTo>
                    <a:pt x="3078" y="4298"/>
                  </a:lnTo>
                  <a:lnTo>
                    <a:pt x="3049" y="4325"/>
                  </a:lnTo>
                  <a:lnTo>
                    <a:pt x="2993" y="4323"/>
                  </a:lnTo>
                  <a:lnTo>
                    <a:pt x="2991" y="4352"/>
                  </a:lnTo>
                  <a:lnTo>
                    <a:pt x="2993" y="4323"/>
                  </a:lnTo>
                  <a:lnTo>
                    <a:pt x="2909" y="4319"/>
                  </a:lnTo>
                  <a:lnTo>
                    <a:pt x="2939" y="4291"/>
                  </a:lnTo>
                  <a:lnTo>
                    <a:pt x="2883" y="4288"/>
                  </a:lnTo>
                  <a:lnTo>
                    <a:pt x="2915" y="4231"/>
                  </a:lnTo>
                  <a:lnTo>
                    <a:pt x="2970" y="4234"/>
                  </a:lnTo>
                  <a:lnTo>
                    <a:pt x="2999" y="4206"/>
                  </a:lnTo>
                  <a:lnTo>
                    <a:pt x="3027" y="4207"/>
                  </a:lnTo>
                  <a:lnTo>
                    <a:pt x="3081" y="4240"/>
                  </a:lnTo>
                  <a:lnTo>
                    <a:pt x="3109" y="4241"/>
                  </a:lnTo>
                  <a:lnTo>
                    <a:pt x="3164" y="4273"/>
                  </a:lnTo>
                  <a:lnTo>
                    <a:pt x="3221" y="4247"/>
                  </a:lnTo>
                  <a:lnTo>
                    <a:pt x="3276" y="4251"/>
                  </a:lnTo>
                  <a:lnTo>
                    <a:pt x="3279" y="4192"/>
                  </a:lnTo>
                  <a:lnTo>
                    <a:pt x="3335" y="4194"/>
                  </a:lnTo>
                  <a:lnTo>
                    <a:pt x="3391" y="4198"/>
                  </a:lnTo>
                  <a:lnTo>
                    <a:pt x="3392" y="4168"/>
                  </a:lnTo>
                  <a:lnTo>
                    <a:pt x="3420" y="4171"/>
                  </a:lnTo>
                  <a:lnTo>
                    <a:pt x="3448" y="4171"/>
                  </a:lnTo>
                  <a:lnTo>
                    <a:pt x="3454" y="4055"/>
                  </a:lnTo>
                  <a:lnTo>
                    <a:pt x="3429" y="4025"/>
                  </a:lnTo>
                  <a:lnTo>
                    <a:pt x="3455" y="4026"/>
                  </a:lnTo>
                  <a:lnTo>
                    <a:pt x="3485" y="3999"/>
                  </a:lnTo>
                  <a:lnTo>
                    <a:pt x="3459" y="3968"/>
                  </a:lnTo>
                  <a:lnTo>
                    <a:pt x="3434" y="3908"/>
                  </a:lnTo>
                  <a:lnTo>
                    <a:pt x="3407" y="3877"/>
                  </a:lnTo>
                  <a:lnTo>
                    <a:pt x="3406" y="3907"/>
                  </a:lnTo>
                  <a:lnTo>
                    <a:pt x="3379" y="3876"/>
                  </a:lnTo>
                  <a:lnTo>
                    <a:pt x="3381" y="3847"/>
                  </a:lnTo>
                  <a:lnTo>
                    <a:pt x="3382" y="3817"/>
                  </a:lnTo>
                  <a:lnTo>
                    <a:pt x="3356" y="3787"/>
                  </a:lnTo>
                  <a:lnTo>
                    <a:pt x="3328" y="3785"/>
                  </a:lnTo>
                  <a:lnTo>
                    <a:pt x="3328" y="3815"/>
                  </a:lnTo>
                  <a:lnTo>
                    <a:pt x="3298" y="3842"/>
                  </a:lnTo>
                  <a:lnTo>
                    <a:pt x="3301" y="3784"/>
                  </a:lnTo>
                  <a:lnTo>
                    <a:pt x="3273" y="3782"/>
                  </a:lnTo>
                  <a:lnTo>
                    <a:pt x="3250" y="3693"/>
                  </a:lnTo>
                  <a:lnTo>
                    <a:pt x="3281" y="3637"/>
                  </a:lnTo>
                  <a:lnTo>
                    <a:pt x="3337" y="3640"/>
                  </a:lnTo>
                  <a:lnTo>
                    <a:pt x="3421" y="3615"/>
                  </a:lnTo>
                  <a:lnTo>
                    <a:pt x="3395" y="3584"/>
                  </a:lnTo>
                  <a:lnTo>
                    <a:pt x="3427" y="3528"/>
                  </a:lnTo>
                  <a:lnTo>
                    <a:pt x="3482" y="3531"/>
                  </a:lnTo>
                  <a:lnTo>
                    <a:pt x="3507" y="3590"/>
                  </a:lnTo>
                  <a:lnTo>
                    <a:pt x="3562" y="3594"/>
                  </a:lnTo>
                  <a:lnTo>
                    <a:pt x="3617" y="3596"/>
                  </a:lnTo>
                  <a:lnTo>
                    <a:pt x="3644" y="3627"/>
                  </a:lnTo>
                  <a:lnTo>
                    <a:pt x="3695" y="3717"/>
                  </a:lnTo>
                  <a:lnTo>
                    <a:pt x="3720" y="3777"/>
                  </a:lnTo>
                  <a:lnTo>
                    <a:pt x="3746" y="3807"/>
                  </a:lnTo>
                  <a:lnTo>
                    <a:pt x="3717" y="3835"/>
                  </a:lnTo>
                  <a:lnTo>
                    <a:pt x="3690" y="3834"/>
                  </a:lnTo>
                  <a:lnTo>
                    <a:pt x="3687" y="3891"/>
                  </a:lnTo>
                  <a:lnTo>
                    <a:pt x="3601" y="3916"/>
                  </a:lnTo>
                  <a:lnTo>
                    <a:pt x="3630" y="3888"/>
                  </a:lnTo>
                  <a:lnTo>
                    <a:pt x="3603" y="3859"/>
                  </a:lnTo>
                  <a:lnTo>
                    <a:pt x="3547" y="3885"/>
                  </a:lnTo>
                  <a:lnTo>
                    <a:pt x="3517" y="3941"/>
                  </a:lnTo>
                  <a:lnTo>
                    <a:pt x="3570" y="3974"/>
                  </a:lnTo>
                  <a:lnTo>
                    <a:pt x="3741" y="3924"/>
                  </a:lnTo>
                  <a:lnTo>
                    <a:pt x="3742" y="3895"/>
                  </a:lnTo>
                  <a:lnTo>
                    <a:pt x="3798" y="3898"/>
                  </a:lnTo>
                  <a:lnTo>
                    <a:pt x="3853" y="3900"/>
                  </a:lnTo>
                  <a:lnTo>
                    <a:pt x="3884" y="3844"/>
                  </a:lnTo>
                  <a:lnTo>
                    <a:pt x="3886" y="3815"/>
                  </a:lnTo>
                  <a:lnTo>
                    <a:pt x="3836" y="3695"/>
                  </a:lnTo>
                  <a:lnTo>
                    <a:pt x="3838" y="3666"/>
                  </a:lnTo>
                  <a:lnTo>
                    <a:pt x="3816" y="3577"/>
                  </a:lnTo>
                  <a:lnTo>
                    <a:pt x="3760" y="3546"/>
                  </a:lnTo>
                  <a:lnTo>
                    <a:pt x="3732" y="3544"/>
                  </a:lnTo>
                  <a:lnTo>
                    <a:pt x="3735" y="3485"/>
                  </a:lnTo>
                  <a:lnTo>
                    <a:pt x="3710" y="3426"/>
                  </a:lnTo>
                  <a:lnTo>
                    <a:pt x="3656" y="3393"/>
                  </a:lnTo>
                  <a:lnTo>
                    <a:pt x="3581" y="3243"/>
                  </a:lnTo>
                  <a:lnTo>
                    <a:pt x="3553" y="3242"/>
                  </a:lnTo>
                  <a:lnTo>
                    <a:pt x="3527" y="3212"/>
                  </a:lnTo>
                  <a:lnTo>
                    <a:pt x="3444" y="3178"/>
                  </a:lnTo>
                  <a:lnTo>
                    <a:pt x="3367" y="3057"/>
                  </a:lnTo>
                  <a:lnTo>
                    <a:pt x="3396" y="3029"/>
                  </a:lnTo>
                  <a:lnTo>
                    <a:pt x="3400" y="2971"/>
                  </a:lnTo>
                  <a:lnTo>
                    <a:pt x="3349" y="2881"/>
                  </a:lnTo>
                  <a:lnTo>
                    <a:pt x="3352" y="2823"/>
                  </a:lnTo>
                  <a:lnTo>
                    <a:pt x="3353" y="2793"/>
                  </a:lnTo>
                  <a:lnTo>
                    <a:pt x="3298" y="2792"/>
                  </a:lnTo>
                  <a:lnTo>
                    <a:pt x="3301" y="2733"/>
                  </a:lnTo>
                  <a:lnTo>
                    <a:pt x="3274" y="2702"/>
                  </a:lnTo>
                  <a:lnTo>
                    <a:pt x="3192" y="2668"/>
                  </a:lnTo>
                  <a:lnTo>
                    <a:pt x="3194" y="2639"/>
                  </a:lnTo>
                  <a:lnTo>
                    <a:pt x="3197" y="2581"/>
                  </a:lnTo>
                  <a:lnTo>
                    <a:pt x="3090" y="2487"/>
                  </a:lnTo>
                  <a:lnTo>
                    <a:pt x="3093" y="2429"/>
                  </a:lnTo>
                  <a:lnTo>
                    <a:pt x="3069" y="2340"/>
                  </a:lnTo>
                  <a:lnTo>
                    <a:pt x="3047" y="2251"/>
                  </a:lnTo>
                  <a:lnTo>
                    <a:pt x="3050" y="2193"/>
                  </a:lnTo>
                  <a:lnTo>
                    <a:pt x="3080" y="2137"/>
                  </a:lnTo>
                  <a:lnTo>
                    <a:pt x="3082" y="2108"/>
                  </a:lnTo>
                  <a:lnTo>
                    <a:pt x="3144" y="1994"/>
                  </a:lnTo>
                  <a:lnTo>
                    <a:pt x="3177" y="1908"/>
                  </a:lnTo>
                  <a:lnTo>
                    <a:pt x="3178" y="1879"/>
                  </a:lnTo>
                  <a:lnTo>
                    <a:pt x="3148" y="1907"/>
                  </a:lnTo>
                  <a:lnTo>
                    <a:pt x="3122" y="1876"/>
                  </a:lnTo>
                  <a:lnTo>
                    <a:pt x="3153" y="1849"/>
                  </a:lnTo>
                  <a:lnTo>
                    <a:pt x="3128" y="1759"/>
                  </a:lnTo>
                  <a:lnTo>
                    <a:pt x="3103" y="1729"/>
                  </a:lnTo>
                  <a:lnTo>
                    <a:pt x="3158" y="1732"/>
                  </a:lnTo>
                  <a:lnTo>
                    <a:pt x="3133" y="1672"/>
                  </a:lnTo>
                  <a:lnTo>
                    <a:pt x="3191" y="1646"/>
                  </a:lnTo>
                  <a:lnTo>
                    <a:pt x="3163" y="1644"/>
                  </a:lnTo>
                  <a:lnTo>
                    <a:pt x="3165" y="1615"/>
                  </a:lnTo>
                  <a:lnTo>
                    <a:pt x="3218" y="1647"/>
                  </a:lnTo>
                  <a:lnTo>
                    <a:pt x="3245" y="1678"/>
                  </a:lnTo>
                  <a:lnTo>
                    <a:pt x="3274" y="1650"/>
                  </a:lnTo>
                  <a:lnTo>
                    <a:pt x="3301" y="1681"/>
                  </a:lnTo>
                  <a:lnTo>
                    <a:pt x="3303" y="1623"/>
                  </a:lnTo>
                  <a:lnTo>
                    <a:pt x="3333" y="1594"/>
                  </a:lnTo>
                  <a:lnTo>
                    <a:pt x="3361" y="1597"/>
                  </a:lnTo>
                  <a:lnTo>
                    <a:pt x="3363" y="1567"/>
                  </a:lnTo>
                  <a:lnTo>
                    <a:pt x="3389" y="1598"/>
                  </a:lnTo>
                  <a:lnTo>
                    <a:pt x="3446" y="1572"/>
                  </a:lnTo>
                  <a:lnTo>
                    <a:pt x="3475" y="1544"/>
                  </a:lnTo>
                  <a:lnTo>
                    <a:pt x="3421" y="1511"/>
                  </a:lnTo>
                  <a:lnTo>
                    <a:pt x="3451" y="1484"/>
                  </a:lnTo>
                  <a:lnTo>
                    <a:pt x="3532" y="1518"/>
                  </a:lnTo>
                  <a:lnTo>
                    <a:pt x="3531" y="1547"/>
                  </a:lnTo>
                  <a:lnTo>
                    <a:pt x="3529" y="1604"/>
                  </a:lnTo>
                  <a:lnTo>
                    <a:pt x="3556" y="1606"/>
                  </a:lnTo>
                  <a:lnTo>
                    <a:pt x="3582" y="1638"/>
                  </a:lnTo>
                  <a:lnTo>
                    <a:pt x="3553" y="1665"/>
                  </a:lnTo>
                  <a:lnTo>
                    <a:pt x="3523" y="1693"/>
                  </a:lnTo>
                  <a:lnTo>
                    <a:pt x="3466" y="1719"/>
                  </a:lnTo>
                  <a:lnTo>
                    <a:pt x="3383" y="1684"/>
                  </a:lnTo>
                  <a:lnTo>
                    <a:pt x="3380" y="1744"/>
                  </a:lnTo>
                  <a:lnTo>
                    <a:pt x="3437" y="1746"/>
                  </a:lnTo>
                  <a:lnTo>
                    <a:pt x="3435" y="1775"/>
                  </a:lnTo>
                  <a:lnTo>
                    <a:pt x="3433" y="1804"/>
                  </a:lnTo>
                  <a:lnTo>
                    <a:pt x="3460" y="1836"/>
                  </a:lnTo>
                  <a:lnTo>
                    <a:pt x="3486" y="1865"/>
                  </a:lnTo>
                  <a:lnTo>
                    <a:pt x="3456" y="1893"/>
                  </a:lnTo>
                  <a:lnTo>
                    <a:pt x="3484" y="1895"/>
                  </a:lnTo>
                  <a:lnTo>
                    <a:pt x="3540" y="1898"/>
                  </a:lnTo>
                  <a:lnTo>
                    <a:pt x="3568" y="1899"/>
                  </a:lnTo>
                  <a:lnTo>
                    <a:pt x="3620" y="1990"/>
                  </a:lnTo>
                  <a:lnTo>
                    <a:pt x="3728" y="2053"/>
                  </a:lnTo>
                  <a:lnTo>
                    <a:pt x="3754" y="2085"/>
                  </a:lnTo>
                  <a:lnTo>
                    <a:pt x="3810" y="2087"/>
                  </a:lnTo>
                  <a:lnTo>
                    <a:pt x="3836" y="2118"/>
                  </a:lnTo>
                  <a:lnTo>
                    <a:pt x="3892" y="2120"/>
                  </a:lnTo>
                  <a:lnTo>
                    <a:pt x="3973" y="2183"/>
                  </a:lnTo>
                  <a:lnTo>
                    <a:pt x="3968" y="2242"/>
                  </a:lnTo>
                  <a:lnTo>
                    <a:pt x="3938" y="2298"/>
                  </a:lnTo>
                  <a:lnTo>
                    <a:pt x="3965" y="2329"/>
                  </a:lnTo>
                  <a:lnTo>
                    <a:pt x="3935" y="2356"/>
                  </a:lnTo>
                  <a:lnTo>
                    <a:pt x="3962" y="2388"/>
                  </a:lnTo>
                  <a:lnTo>
                    <a:pt x="3960" y="2416"/>
                  </a:lnTo>
                  <a:lnTo>
                    <a:pt x="3987" y="2447"/>
                  </a:lnTo>
                  <a:lnTo>
                    <a:pt x="3984" y="2476"/>
                  </a:lnTo>
                  <a:lnTo>
                    <a:pt x="4009" y="2535"/>
                  </a:lnTo>
                  <a:lnTo>
                    <a:pt x="3979" y="2592"/>
                  </a:lnTo>
                  <a:lnTo>
                    <a:pt x="4035" y="2566"/>
                  </a:lnTo>
                  <a:lnTo>
                    <a:pt x="4063" y="2569"/>
                  </a:lnTo>
                  <a:lnTo>
                    <a:pt x="4092" y="2569"/>
                  </a:lnTo>
                  <a:lnTo>
                    <a:pt x="4147" y="2572"/>
                  </a:lnTo>
                  <a:lnTo>
                    <a:pt x="4200" y="2634"/>
                  </a:lnTo>
                  <a:lnTo>
                    <a:pt x="4281" y="2667"/>
                  </a:lnTo>
                  <a:lnTo>
                    <a:pt x="4337" y="2670"/>
                  </a:lnTo>
                  <a:lnTo>
                    <a:pt x="4392" y="2702"/>
                  </a:lnTo>
                  <a:lnTo>
                    <a:pt x="4421" y="2675"/>
                  </a:lnTo>
                  <a:lnTo>
                    <a:pt x="4449" y="2675"/>
                  </a:lnTo>
                  <a:lnTo>
                    <a:pt x="4450" y="2647"/>
                  </a:lnTo>
                  <a:lnTo>
                    <a:pt x="4395" y="2643"/>
                  </a:lnTo>
                  <a:lnTo>
                    <a:pt x="4368" y="2613"/>
                  </a:lnTo>
                  <a:lnTo>
                    <a:pt x="4370" y="2584"/>
                  </a:lnTo>
                  <a:lnTo>
                    <a:pt x="4288" y="2550"/>
                  </a:lnTo>
                  <a:lnTo>
                    <a:pt x="4234" y="2519"/>
                  </a:lnTo>
                  <a:lnTo>
                    <a:pt x="4152" y="2485"/>
                  </a:lnTo>
                  <a:lnTo>
                    <a:pt x="4128" y="2395"/>
                  </a:lnTo>
                  <a:lnTo>
                    <a:pt x="4100" y="2394"/>
                  </a:lnTo>
                  <a:lnTo>
                    <a:pt x="4049" y="2305"/>
                  </a:lnTo>
                  <a:lnTo>
                    <a:pt x="4021" y="2302"/>
                  </a:lnTo>
                  <a:lnTo>
                    <a:pt x="3999" y="2215"/>
                  </a:lnTo>
                  <a:lnTo>
                    <a:pt x="3973" y="2183"/>
                  </a:lnTo>
                  <a:lnTo>
                    <a:pt x="4004" y="2126"/>
                  </a:lnTo>
                  <a:lnTo>
                    <a:pt x="4032" y="2099"/>
                  </a:lnTo>
                  <a:lnTo>
                    <a:pt x="4088" y="2102"/>
                  </a:lnTo>
                  <a:lnTo>
                    <a:pt x="4170" y="2135"/>
                  </a:lnTo>
                  <a:lnTo>
                    <a:pt x="4225" y="2168"/>
                  </a:lnTo>
                  <a:lnTo>
                    <a:pt x="4280" y="2170"/>
                  </a:lnTo>
                  <a:lnTo>
                    <a:pt x="4362" y="2203"/>
                  </a:lnTo>
                  <a:lnTo>
                    <a:pt x="4388" y="2234"/>
                  </a:lnTo>
                  <a:lnTo>
                    <a:pt x="4417" y="2236"/>
                  </a:lnTo>
                  <a:lnTo>
                    <a:pt x="4441" y="2296"/>
                  </a:lnTo>
                  <a:lnTo>
                    <a:pt x="4493" y="2356"/>
                  </a:lnTo>
                  <a:lnTo>
                    <a:pt x="4492" y="2386"/>
                  </a:lnTo>
                  <a:lnTo>
                    <a:pt x="4518" y="2416"/>
                  </a:lnTo>
                  <a:lnTo>
                    <a:pt x="4517" y="2445"/>
                  </a:lnTo>
                  <a:lnTo>
                    <a:pt x="4539" y="2563"/>
                  </a:lnTo>
                  <a:lnTo>
                    <a:pt x="4542" y="2506"/>
                  </a:lnTo>
                  <a:lnTo>
                    <a:pt x="4622" y="2569"/>
                  </a:lnTo>
                  <a:lnTo>
                    <a:pt x="4619" y="2626"/>
                  </a:lnTo>
                  <a:lnTo>
                    <a:pt x="4648" y="2599"/>
                  </a:lnTo>
                  <a:lnTo>
                    <a:pt x="4675" y="2628"/>
                  </a:lnTo>
                  <a:lnTo>
                    <a:pt x="4647" y="2627"/>
                  </a:lnTo>
                  <a:lnTo>
                    <a:pt x="4673" y="2658"/>
                  </a:lnTo>
                  <a:lnTo>
                    <a:pt x="4701" y="2660"/>
                  </a:lnTo>
                  <a:lnTo>
                    <a:pt x="4729" y="2662"/>
                  </a:lnTo>
                  <a:lnTo>
                    <a:pt x="4731" y="2631"/>
                  </a:lnTo>
                  <a:lnTo>
                    <a:pt x="4705" y="2601"/>
                  </a:lnTo>
                  <a:lnTo>
                    <a:pt x="4760" y="2604"/>
                  </a:lnTo>
                  <a:lnTo>
                    <a:pt x="4734" y="2574"/>
                  </a:lnTo>
                  <a:lnTo>
                    <a:pt x="4791" y="2547"/>
                  </a:lnTo>
                  <a:lnTo>
                    <a:pt x="4765" y="2517"/>
                  </a:lnTo>
                  <a:lnTo>
                    <a:pt x="4737" y="2516"/>
                  </a:lnTo>
                  <a:lnTo>
                    <a:pt x="4766" y="2487"/>
                  </a:lnTo>
                  <a:lnTo>
                    <a:pt x="4713" y="2427"/>
                  </a:lnTo>
                  <a:lnTo>
                    <a:pt x="4744" y="2399"/>
                  </a:lnTo>
                  <a:lnTo>
                    <a:pt x="4664" y="2308"/>
                  </a:lnTo>
                  <a:lnTo>
                    <a:pt x="4581" y="2274"/>
                  </a:lnTo>
                  <a:lnTo>
                    <a:pt x="4555" y="2243"/>
                  </a:lnTo>
                  <a:lnTo>
                    <a:pt x="4528" y="2242"/>
                  </a:lnTo>
                  <a:lnTo>
                    <a:pt x="4500" y="2240"/>
                  </a:lnTo>
                  <a:lnTo>
                    <a:pt x="4475" y="2180"/>
                  </a:lnTo>
                  <a:lnTo>
                    <a:pt x="4449" y="2150"/>
                  </a:lnTo>
                  <a:lnTo>
                    <a:pt x="4424" y="2090"/>
                  </a:lnTo>
                  <a:lnTo>
                    <a:pt x="4427" y="2032"/>
                  </a:lnTo>
                  <a:lnTo>
                    <a:pt x="4455" y="2033"/>
                  </a:lnTo>
                  <a:lnTo>
                    <a:pt x="4455" y="2004"/>
                  </a:lnTo>
                  <a:lnTo>
                    <a:pt x="4484" y="2006"/>
                  </a:lnTo>
                  <a:lnTo>
                    <a:pt x="4512" y="2007"/>
                  </a:lnTo>
                  <a:lnTo>
                    <a:pt x="4540" y="2008"/>
                  </a:lnTo>
                  <a:lnTo>
                    <a:pt x="4569" y="1981"/>
                  </a:lnTo>
                  <a:lnTo>
                    <a:pt x="4625" y="1984"/>
                  </a:lnTo>
                  <a:lnTo>
                    <a:pt x="4654" y="1985"/>
                  </a:lnTo>
                  <a:lnTo>
                    <a:pt x="4681" y="1986"/>
                  </a:lnTo>
                  <a:lnTo>
                    <a:pt x="4736" y="1990"/>
                  </a:lnTo>
                  <a:lnTo>
                    <a:pt x="4735" y="2019"/>
                  </a:lnTo>
                  <a:lnTo>
                    <a:pt x="4816" y="2082"/>
                  </a:lnTo>
                  <a:lnTo>
                    <a:pt x="4925" y="2116"/>
                  </a:lnTo>
                  <a:lnTo>
                    <a:pt x="4980" y="2149"/>
                  </a:lnTo>
                  <a:lnTo>
                    <a:pt x="5007" y="2179"/>
                  </a:lnTo>
                  <a:lnTo>
                    <a:pt x="5032" y="2209"/>
                  </a:lnTo>
                  <a:lnTo>
                    <a:pt x="5029" y="2268"/>
                  </a:lnTo>
                  <a:lnTo>
                    <a:pt x="5081" y="2329"/>
                  </a:lnTo>
                  <a:lnTo>
                    <a:pt x="5106" y="2389"/>
                  </a:lnTo>
                  <a:lnTo>
                    <a:pt x="5132" y="2419"/>
                  </a:lnTo>
                  <a:lnTo>
                    <a:pt x="5247" y="2367"/>
                  </a:lnTo>
                  <a:lnTo>
                    <a:pt x="5221" y="2336"/>
                  </a:lnTo>
                  <a:lnTo>
                    <a:pt x="5224" y="2277"/>
                  </a:lnTo>
                  <a:lnTo>
                    <a:pt x="5117" y="2184"/>
                  </a:lnTo>
                  <a:lnTo>
                    <a:pt x="5093" y="2125"/>
                  </a:lnTo>
                  <a:lnTo>
                    <a:pt x="5068" y="2065"/>
                  </a:lnTo>
                  <a:lnTo>
                    <a:pt x="5012" y="2062"/>
                  </a:lnTo>
                  <a:lnTo>
                    <a:pt x="5013" y="2033"/>
                  </a:lnTo>
                  <a:lnTo>
                    <a:pt x="4959" y="2001"/>
                  </a:lnTo>
                  <a:lnTo>
                    <a:pt x="4876" y="1997"/>
                  </a:lnTo>
                  <a:lnTo>
                    <a:pt x="4850" y="1967"/>
                  </a:lnTo>
                  <a:lnTo>
                    <a:pt x="4851" y="1936"/>
                  </a:lnTo>
                  <a:lnTo>
                    <a:pt x="4823" y="1935"/>
                  </a:lnTo>
                  <a:lnTo>
                    <a:pt x="4800" y="1847"/>
                  </a:lnTo>
                  <a:lnTo>
                    <a:pt x="4799" y="1876"/>
                  </a:lnTo>
                  <a:lnTo>
                    <a:pt x="4794" y="1934"/>
                  </a:lnTo>
                  <a:lnTo>
                    <a:pt x="4766" y="1961"/>
                  </a:lnTo>
                  <a:lnTo>
                    <a:pt x="4656" y="1927"/>
                  </a:lnTo>
                  <a:lnTo>
                    <a:pt x="4630" y="1896"/>
                  </a:lnTo>
                  <a:lnTo>
                    <a:pt x="4631" y="1867"/>
                  </a:lnTo>
                  <a:lnTo>
                    <a:pt x="4579" y="1806"/>
                  </a:lnTo>
                  <a:lnTo>
                    <a:pt x="4581" y="1747"/>
                  </a:lnTo>
                  <a:lnTo>
                    <a:pt x="4693" y="1754"/>
                  </a:lnTo>
                  <a:lnTo>
                    <a:pt x="4641" y="1693"/>
                  </a:lnTo>
                  <a:lnTo>
                    <a:pt x="4584" y="1690"/>
                  </a:lnTo>
                  <a:lnTo>
                    <a:pt x="4587" y="1660"/>
                  </a:lnTo>
                  <a:lnTo>
                    <a:pt x="4531" y="1628"/>
                  </a:lnTo>
                  <a:lnTo>
                    <a:pt x="4533" y="1600"/>
                  </a:lnTo>
                  <a:lnTo>
                    <a:pt x="4507" y="1568"/>
                  </a:lnTo>
                  <a:lnTo>
                    <a:pt x="4480" y="1538"/>
                  </a:lnTo>
                  <a:lnTo>
                    <a:pt x="4374" y="1445"/>
                  </a:lnTo>
                  <a:lnTo>
                    <a:pt x="4428" y="1476"/>
                  </a:lnTo>
                  <a:lnTo>
                    <a:pt x="4489" y="1392"/>
                  </a:lnTo>
                  <a:lnTo>
                    <a:pt x="4464" y="1332"/>
                  </a:lnTo>
                  <a:lnTo>
                    <a:pt x="4577" y="1309"/>
                  </a:lnTo>
                  <a:lnTo>
                    <a:pt x="4687" y="1343"/>
                  </a:lnTo>
                  <a:lnTo>
                    <a:pt x="4713" y="1375"/>
                  </a:lnTo>
                  <a:lnTo>
                    <a:pt x="4741" y="1377"/>
                  </a:lnTo>
                  <a:lnTo>
                    <a:pt x="4767" y="1407"/>
                  </a:lnTo>
                  <a:lnTo>
                    <a:pt x="4823" y="1410"/>
                  </a:lnTo>
                  <a:lnTo>
                    <a:pt x="4906" y="1443"/>
                  </a:lnTo>
                  <a:lnTo>
                    <a:pt x="5019" y="1391"/>
                  </a:lnTo>
                  <a:lnTo>
                    <a:pt x="5049" y="1364"/>
                  </a:lnTo>
                  <a:lnTo>
                    <a:pt x="5077" y="1365"/>
                  </a:lnTo>
                  <a:lnTo>
                    <a:pt x="5164" y="1311"/>
                  </a:lnTo>
                  <a:lnTo>
                    <a:pt x="5220" y="1285"/>
                  </a:lnTo>
                  <a:lnTo>
                    <a:pt x="5193" y="1284"/>
                  </a:lnTo>
                  <a:lnTo>
                    <a:pt x="5251" y="1227"/>
                  </a:lnTo>
                  <a:lnTo>
                    <a:pt x="5195" y="1225"/>
                  </a:lnTo>
                  <a:lnTo>
                    <a:pt x="5255" y="1169"/>
                  </a:lnTo>
                  <a:lnTo>
                    <a:pt x="5282" y="1171"/>
                  </a:lnTo>
                  <a:lnTo>
                    <a:pt x="5284" y="1142"/>
                  </a:lnTo>
                  <a:lnTo>
                    <a:pt x="5313" y="1114"/>
                  </a:lnTo>
                  <a:lnTo>
                    <a:pt x="5310" y="1172"/>
                  </a:lnTo>
                  <a:lnTo>
                    <a:pt x="5341" y="1116"/>
                  </a:lnTo>
                  <a:lnTo>
                    <a:pt x="5399" y="1089"/>
                  </a:lnTo>
                  <a:lnTo>
                    <a:pt x="5482" y="1094"/>
                  </a:lnTo>
                  <a:lnTo>
                    <a:pt x="5507" y="1154"/>
                  </a:lnTo>
                  <a:lnTo>
                    <a:pt x="5534" y="1155"/>
                  </a:lnTo>
                  <a:lnTo>
                    <a:pt x="5506" y="1182"/>
                  </a:lnTo>
                  <a:lnTo>
                    <a:pt x="5533" y="1184"/>
                  </a:lnTo>
                  <a:lnTo>
                    <a:pt x="5561" y="1185"/>
                  </a:lnTo>
                  <a:lnTo>
                    <a:pt x="5559" y="1214"/>
                  </a:lnTo>
                  <a:lnTo>
                    <a:pt x="5558" y="1244"/>
                  </a:lnTo>
                  <a:lnTo>
                    <a:pt x="5614" y="1247"/>
                  </a:lnTo>
                  <a:lnTo>
                    <a:pt x="5615" y="1218"/>
                  </a:lnTo>
                  <a:lnTo>
                    <a:pt x="5642" y="1248"/>
                  </a:lnTo>
                  <a:lnTo>
                    <a:pt x="5668" y="1278"/>
                  </a:lnTo>
                  <a:lnTo>
                    <a:pt x="5725" y="1252"/>
                  </a:lnTo>
                  <a:lnTo>
                    <a:pt x="5810" y="1227"/>
                  </a:lnTo>
                  <a:lnTo>
                    <a:pt x="5838" y="1229"/>
                  </a:lnTo>
                  <a:lnTo>
                    <a:pt x="5897" y="1174"/>
                  </a:lnTo>
                  <a:lnTo>
                    <a:pt x="5982" y="1150"/>
                  </a:lnTo>
                  <a:lnTo>
                    <a:pt x="5981" y="1179"/>
                  </a:lnTo>
                  <a:lnTo>
                    <a:pt x="6008" y="1179"/>
                  </a:lnTo>
                  <a:lnTo>
                    <a:pt x="6040" y="1122"/>
                  </a:lnTo>
                  <a:lnTo>
                    <a:pt x="6069" y="1095"/>
                  </a:lnTo>
                  <a:lnTo>
                    <a:pt x="6070" y="1066"/>
                  </a:lnTo>
                  <a:lnTo>
                    <a:pt x="6127" y="1039"/>
                  </a:lnTo>
                  <a:lnTo>
                    <a:pt x="6131" y="982"/>
                  </a:lnTo>
                  <a:lnTo>
                    <a:pt x="6158" y="983"/>
                  </a:lnTo>
                  <a:lnTo>
                    <a:pt x="6108" y="893"/>
                  </a:lnTo>
                  <a:lnTo>
                    <a:pt x="6189" y="927"/>
                  </a:lnTo>
                  <a:lnTo>
                    <a:pt x="6216" y="957"/>
                  </a:lnTo>
                  <a:lnTo>
                    <a:pt x="6186" y="985"/>
                  </a:lnTo>
                  <a:lnTo>
                    <a:pt x="6239" y="1046"/>
                  </a:lnTo>
                  <a:lnTo>
                    <a:pt x="6184" y="1042"/>
                  </a:lnTo>
                  <a:lnTo>
                    <a:pt x="6153" y="1071"/>
                  </a:lnTo>
                  <a:lnTo>
                    <a:pt x="6209" y="1073"/>
                  </a:lnTo>
                  <a:lnTo>
                    <a:pt x="6182" y="1073"/>
                  </a:lnTo>
                  <a:lnTo>
                    <a:pt x="6150" y="1129"/>
                  </a:lnTo>
                  <a:lnTo>
                    <a:pt x="6206" y="1131"/>
                  </a:lnTo>
                  <a:lnTo>
                    <a:pt x="6261" y="1164"/>
                  </a:lnTo>
                  <a:lnTo>
                    <a:pt x="6290" y="1135"/>
                  </a:lnTo>
                  <a:lnTo>
                    <a:pt x="6289" y="1166"/>
                  </a:lnTo>
                  <a:lnTo>
                    <a:pt x="6317" y="1167"/>
                  </a:lnTo>
                  <a:lnTo>
                    <a:pt x="6290" y="1135"/>
                  </a:lnTo>
                  <a:lnTo>
                    <a:pt x="6344" y="1168"/>
                  </a:lnTo>
                  <a:lnTo>
                    <a:pt x="6317" y="1167"/>
                  </a:lnTo>
                  <a:lnTo>
                    <a:pt x="6343" y="1197"/>
                  </a:lnTo>
                  <a:lnTo>
                    <a:pt x="6401" y="1142"/>
                  </a:lnTo>
                  <a:lnTo>
                    <a:pt x="6430" y="1143"/>
                  </a:lnTo>
                  <a:lnTo>
                    <a:pt x="6427" y="1172"/>
                  </a:lnTo>
                  <a:lnTo>
                    <a:pt x="6454" y="1203"/>
                  </a:lnTo>
                  <a:lnTo>
                    <a:pt x="6590" y="1269"/>
                  </a:lnTo>
                  <a:lnTo>
                    <a:pt x="6645" y="1300"/>
                  </a:lnTo>
                  <a:lnTo>
                    <a:pt x="6672" y="1302"/>
                  </a:lnTo>
                  <a:lnTo>
                    <a:pt x="6728" y="1305"/>
                  </a:lnTo>
                  <a:lnTo>
                    <a:pt x="6783" y="1337"/>
                  </a:lnTo>
                  <a:lnTo>
                    <a:pt x="6784" y="1308"/>
                  </a:lnTo>
                  <a:lnTo>
                    <a:pt x="6811" y="1309"/>
                  </a:lnTo>
                  <a:lnTo>
                    <a:pt x="6977" y="1347"/>
                  </a:lnTo>
                  <a:lnTo>
                    <a:pt x="7060" y="1352"/>
                  </a:lnTo>
                  <a:lnTo>
                    <a:pt x="7116" y="1355"/>
                  </a:lnTo>
                  <a:lnTo>
                    <a:pt x="7172" y="1357"/>
                  </a:lnTo>
                  <a:lnTo>
                    <a:pt x="7198" y="1389"/>
                  </a:lnTo>
                  <a:lnTo>
                    <a:pt x="7254" y="1391"/>
                  </a:lnTo>
                  <a:lnTo>
                    <a:pt x="7281" y="1421"/>
                  </a:lnTo>
                  <a:lnTo>
                    <a:pt x="7195" y="1446"/>
                  </a:lnTo>
                  <a:lnTo>
                    <a:pt x="7249" y="1479"/>
                  </a:lnTo>
                  <a:lnTo>
                    <a:pt x="7307" y="1452"/>
                  </a:lnTo>
                  <a:lnTo>
                    <a:pt x="7249" y="1479"/>
                  </a:lnTo>
                  <a:lnTo>
                    <a:pt x="7247" y="1536"/>
                  </a:lnTo>
                  <a:lnTo>
                    <a:pt x="7330" y="1541"/>
                  </a:lnTo>
                  <a:lnTo>
                    <a:pt x="7362" y="1455"/>
                  </a:lnTo>
                  <a:lnTo>
                    <a:pt x="7447" y="1430"/>
                  </a:lnTo>
                  <a:lnTo>
                    <a:pt x="7482" y="1315"/>
                  </a:lnTo>
                  <a:lnTo>
                    <a:pt x="7567" y="1290"/>
                  </a:lnTo>
                  <a:lnTo>
                    <a:pt x="7542" y="1231"/>
                  </a:lnTo>
                  <a:lnTo>
                    <a:pt x="7625" y="1235"/>
                  </a:lnTo>
                  <a:lnTo>
                    <a:pt x="7602" y="1146"/>
                  </a:lnTo>
                  <a:lnTo>
                    <a:pt x="7632" y="1119"/>
                  </a:lnTo>
                  <a:lnTo>
                    <a:pt x="7581" y="1028"/>
                  </a:lnTo>
                  <a:lnTo>
                    <a:pt x="7623" y="738"/>
                  </a:lnTo>
                  <a:lnTo>
                    <a:pt x="7707" y="743"/>
                  </a:lnTo>
                  <a:lnTo>
                    <a:pt x="7791" y="747"/>
                  </a:lnTo>
                  <a:lnTo>
                    <a:pt x="7824" y="632"/>
                  </a:lnTo>
                  <a:lnTo>
                    <a:pt x="7935" y="667"/>
                  </a:lnTo>
                  <a:lnTo>
                    <a:pt x="7993" y="612"/>
                  </a:lnTo>
                  <a:lnTo>
                    <a:pt x="7996" y="554"/>
                  </a:lnTo>
                  <a:lnTo>
                    <a:pt x="7975" y="436"/>
                  </a:lnTo>
                  <a:lnTo>
                    <a:pt x="7959" y="229"/>
                  </a:lnTo>
                  <a:lnTo>
                    <a:pt x="7903" y="198"/>
                  </a:lnTo>
                  <a:lnTo>
                    <a:pt x="7878" y="139"/>
                  </a:lnTo>
                  <a:lnTo>
                    <a:pt x="7633" y="37"/>
                  </a:lnTo>
                  <a:lnTo>
                    <a:pt x="7523" y="2"/>
                  </a:lnTo>
                  <a:lnTo>
                    <a:pt x="7467" y="0"/>
                  </a:lnTo>
                  <a:lnTo>
                    <a:pt x="7351" y="82"/>
                  </a:lnTo>
                  <a:lnTo>
                    <a:pt x="7401" y="200"/>
                  </a:lnTo>
                  <a:lnTo>
                    <a:pt x="7480" y="293"/>
                  </a:lnTo>
                  <a:lnTo>
                    <a:pt x="7449" y="350"/>
                  </a:lnTo>
                  <a:lnTo>
                    <a:pt x="7471" y="468"/>
                  </a:lnTo>
                  <a:lnTo>
                    <a:pt x="7410" y="581"/>
                  </a:lnTo>
                  <a:lnTo>
                    <a:pt x="7325" y="577"/>
                  </a:lnTo>
                  <a:lnTo>
                    <a:pt x="7211" y="601"/>
                  </a:lnTo>
                  <a:lnTo>
                    <a:pt x="7046" y="591"/>
                  </a:lnTo>
                  <a:lnTo>
                    <a:pt x="6932" y="614"/>
                  </a:lnTo>
                  <a:lnTo>
                    <a:pt x="6901" y="672"/>
                  </a:lnTo>
                  <a:lnTo>
                    <a:pt x="6819" y="638"/>
                  </a:lnTo>
                  <a:lnTo>
                    <a:pt x="6708" y="632"/>
                  </a:lnTo>
                  <a:lnTo>
                    <a:pt x="6650" y="658"/>
                  </a:lnTo>
                  <a:lnTo>
                    <a:pt x="6595" y="655"/>
                  </a:lnTo>
                  <a:lnTo>
                    <a:pt x="6424" y="705"/>
                  </a:lnTo>
                  <a:lnTo>
                    <a:pt x="6341" y="700"/>
                  </a:lnTo>
                  <a:lnTo>
                    <a:pt x="6315" y="670"/>
                  </a:lnTo>
                  <a:lnTo>
                    <a:pt x="6236" y="578"/>
                  </a:lnTo>
                  <a:lnTo>
                    <a:pt x="6209" y="548"/>
                  </a:lnTo>
                  <a:lnTo>
                    <a:pt x="6129" y="485"/>
                  </a:lnTo>
                  <a:lnTo>
                    <a:pt x="5938" y="388"/>
                  </a:lnTo>
                  <a:lnTo>
                    <a:pt x="5853" y="412"/>
                  </a:lnTo>
                  <a:lnTo>
                    <a:pt x="5820" y="498"/>
                  </a:lnTo>
                  <a:lnTo>
                    <a:pt x="5741" y="436"/>
                  </a:lnTo>
                  <a:lnTo>
                    <a:pt x="5716" y="376"/>
                  </a:lnTo>
                  <a:lnTo>
                    <a:pt x="5578" y="340"/>
                  </a:lnTo>
                  <a:lnTo>
                    <a:pt x="5531" y="191"/>
                  </a:lnTo>
                  <a:lnTo>
                    <a:pt x="5504" y="160"/>
                  </a:lnTo>
                  <a:lnTo>
                    <a:pt x="5419" y="185"/>
                  </a:lnTo>
                  <a:lnTo>
                    <a:pt x="5364" y="154"/>
                  </a:lnTo>
                  <a:lnTo>
                    <a:pt x="5249" y="205"/>
                  </a:lnTo>
                  <a:lnTo>
                    <a:pt x="5225" y="145"/>
                  </a:lnTo>
                  <a:lnTo>
                    <a:pt x="5170" y="114"/>
                  </a:lnTo>
                  <a:lnTo>
                    <a:pt x="5084" y="167"/>
                  </a:lnTo>
                  <a:lnTo>
                    <a:pt x="5030" y="135"/>
                  </a:lnTo>
                  <a:lnTo>
                    <a:pt x="4945" y="160"/>
                  </a:lnTo>
                  <a:lnTo>
                    <a:pt x="4938" y="276"/>
                  </a:lnTo>
                  <a:lnTo>
                    <a:pt x="4883" y="274"/>
                  </a:lnTo>
                  <a:lnTo>
                    <a:pt x="4826" y="300"/>
                  </a:lnTo>
                  <a:lnTo>
                    <a:pt x="4773" y="238"/>
                  </a:lnTo>
                  <a:lnTo>
                    <a:pt x="4658" y="291"/>
                  </a:lnTo>
                  <a:lnTo>
                    <a:pt x="4602" y="318"/>
                  </a:lnTo>
                  <a:lnTo>
                    <a:pt x="4489" y="341"/>
                  </a:lnTo>
                  <a:lnTo>
                    <a:pt x="4349" y="333"/>
                  </a:lnTo>
                  <a:lnTo>
                    <a:pt x="4347" y="363"/>
                  </a:lnTo>
                  <a:lnTo>
                    <a:pt x="4182" y="325"/>
                  </a:lnTo>
                  <a:lnTo>
                    <a:pt x="4097" y="350"/>
                  </a:lnTo>
                  <a:lnTo>
                    <a:pt x="4042" y="318"/>
                  </a:lnTo>
                  <a:lnTo>
                    <a:pt x="3986" y="343"/>
                  </a:lnTo>
                  <a:lnTo>
                    <a:pt x="3896" y="456"/>
                  </a:lnTo>
                  <a:lnTo>
                    <a:pt x="3840" y="452"/>
                  </a:lnTo>
                  <a:lnTo>
                    <a:pt x="3675" y="415"/>
                  </a:lnTo>
                  <a:lnTo>
                    <a:pt x="3510" y="347"/>
                  </a:lnTo>
                  <a:lnTo>
                    <a:pt x="3452" y="403"/>
                  </a:lnTo>
                  <a:lnTo>
                    <a:pt x="3394" y="430"/>
                  </a:lnTo>
                  <a:lnTo>
                    <a:pt x="3362" y="515"/>
                  </a:lnTo>
                  <a:lnTo>
                    <a:pt x="3416" y="548"/>
                  </a:lnTo>
                  <a:lnTo>
                    <a:pt x="3412" y="635"/>
                  </a:lnTo>
                  <a:lnTo>
                    <a:pt x="3355" y="632"/>
                  </a:lnTo>
                  <a:lnTo>
                    <a:pt x="3327" y="660"/>
                  </a:lnTo>
                  <a:lnTo>
                    <a:pt x="3272" y="628"/>
                  </a:lnTo>
                  <a:lnTo>
                    <a:pt x="3184" y="710"/>
                  </a:lnTo>
                  <a:lnTo>
                    <a:pt x="2989" y="700"/>
                  </a:lnTo>
                  <a:lnTo>
                    <a:pt x="2799" y="603"/>
                  </a:lnTo>
                  <a:lnTo>
                    <a:pt x="2771" y="602"/>
                  </a:lnTo>
                  <a:lnTo>
                    <a:pt x="2742" y="601"/>
                  </a:lnTo>
                  <a:lnTo>
                    <a:pt x="2656" y="654"/>
                  </a:lnTo>
                  <a:lnTo>
                    <a:pt x="2628" y="653"/>
                  </a:lnTo>
                  <a:lnTo>
                    <a:pt x="2575" y="620"/>
                  </a:lnTo>
                  <a:lnTo>
                    <a:pt x="2403" y="670"/>
                  </a:lnTo>
                  <a:lnTo>
                    <a:pt x="2314" y="782"/>
                  </a:lnTo>
                  <a:lnTo>
                    <a:pt x="2140" y="890"/>
                  </a:lnTo>
                  <a:lnTo>
                    <a:pt x="2165" y="949"/>
                  </a:lnTo>
                  <a:lnTo>
                    <a:pt x="2110" y="946"/>
                  </a:lnTo>
                  <a:lnTo>
                    <a:pt x="1994" y="1028"/>
                  </a:lnTo>
                  <a:lnTo>
                    <a:pt x="1966" y="1026"/>
                  </a:lnTo>
                  <a:lnTo>
                    <a:pt x="1885" y="993"/>
                  </a:lnTo>
                  <a:lnTo>
                    <a:pt x="1858" y="963"/>
                  </a:lnTo>
                  <a:lnTo>
                    <a:pt x="1775" y="958"/>
                  </a:lnTo>
                  <a:lnTo>
                    <a:pt x="1632" y="1010"/>
                  </a:lnTo>
                  <a:lnTo>
                    <a:pt x="1602" y="1037"/>
                  </a:lnTo>
                  <a:lnTo>
                    <a:pt x="1493" y="1001"/>
                  </a:lnTo>
                  <a:lnTo>
                    <a:pt x="1436" y="1028"/>
                  </a:lnTo>
                  <a:lnTo>
                    <a:pt x="1240" y="1017"/>
                  </a:lnTo>
                  <a:lnTo>
                    <a:pt x="1233" y="1164"/>
                  </a:lnTo>
                  <a:lnTo>
                    <a:pt x="1281" y="1312"/>
                  </a:lnTo>
                  <a:lnTo>
                    <a:pt x="1309" y="1314"/>
                  </a:lnTo>
                  <a:lnTo>
                    <a:pt x="1249" y="1368"/>
                  </a:lnTo>
                  <a:lnTo>
                    <a:pt x="1301" y="1460"/>
                  </a:lnTo>
                  <a:lnTo>
                    <a:pt x="1243" y="1514"/>
                  </a:lnTo>
                  <a:lnTo>
                    <a:pt x="1266" y="1575"/>
                  </a:lnTo>
                  <a:lnTo>
                    <a:pt x="1180" y="1628"/>
                  </a:lnTo>
                  <a:lnTo>
                    <a:pt x="1069" y="1623"/>
                  </a:lnTo>
                  <a:lnTo>
                    <a:pt x="1011" y="1650"/>
                  </a:lnTo>
                  <a:lnTo>
                    <a:pt x="924" y="1732"/>
                  </a:lnTo>
                  <a:lnTo>
                    <a:pt x="948" y="1791"/>
                  </a:lnTo>
                  <a:lnTo>
                    <a:pt x="944" y="1879"/>
                  </a:lnTo>
                  <a:lnTo>
                    <a:pt x="912" y="1935"/>
                  </a:lnTo>
                  <a:lnTo>
                    <a:pt x="908" y="2023"/>
                  </a:lnTo>
                  <a:lnTo>
                    <a:pt x="848" y="2078"/>
                  </a:lnTo>
                  <a:lnTo>
                    <a:pt x="845" y="2166"/>
                  </a:lnTo>
                  <a:lnTo>
                    <a:pt x="814" y="2222"/>
                  </a:lnTo>
                  <a:lnTo>
                    <a:pt x="756" y="2249"/>
                  </a:lnTo>
                  <a:lnTo>
                    <a:pt x="645" y="2243"/>
                  </a:lnTo>
                  <a:lnTo>
                    <a:pt x="588" y="2269"/>
                  </a:lnTo>
                  <a:lnTo>
                    <a:pt x="531" y="2296"/>
                  </a:lnTo>
                  <a:lnTo>
                    <a:pt x="473" y="2351"/>
                  </a:lnTo>
                  <a:lnTo>
                    <a:pt x="414" y="2377"/>
                  </a:lnTo>
                  <a:lnTo>
                    <a:pt x="461" y="2555"/>
                  </a:lnTo>
                  <a:lnTo>
                    <a:pt x="514" y="2615"/>
                  </a:lnTo>
                  <a:lnTo>
                    <a:pt x="428" y="2640"/>
                  </a:lnTo>
                  <a:lnTo>
                    <a:pt x="425" y="2699"/>
                  </a:lnTo>
                  <a:lnTo>
                    <a:pt x="372" y="2667"/>
                  </a:lnTo>
                  <a:lnTo>
                    <a:pt x="370" y="2696"/>
                  </a:lnTo>
                  <a:lnTo>
                    <a:pt x="366" y="2783"/>
                  </a:lnTo>
                  <a:lnTo>
                    <a:pt x="247" y="2894"/>
                  </a:lnTo>
                  <a:lnTo>
                    <a:pt x="192" y="2891"/>
                  </a:lnTo>
                  <a:lnTo>
                    <a:pt x="84" y="2827"/>
                  </a:lnTo>
                  <a:lnTo>
                    <a:pt x="0" y="2823"/>
                  </a:lnTo>
                  <a:lnTo>
                    <a:pt x="24" y="2883"/>
                  </a:lnTo>
                  <a:lnTo>
                    <a:pt x="82" y="2857"/>
                  </a:lnTo>
                  <a:lnTo>
                    <a:pt x="107" y="2916"/>
                  </a:lnTo>
                  <a:lnTo>
                    <a:pt x="136" y="2888"/>
                  </a:lnTo>
                  <a:lnTo>
                    <a:pt x="217" y="2951"/>
                  </a:lnTo>
                  <a:lnTo>
                    <a:pt x="186" y="3007"/>
                  </a:lnTo>
                  <a:lnTo>
                    <a:pt x="212" y="3038"/>
                  </a:lnTo>
                  <a:lnTo>
                    <a:pt x="183" y="3065"/>
                  </a:lnTo>
                  <a:lnTo>
                    <a:pt x="153" y="3094"/>
                  </a:lnTo>
                  <a:lnTo>
                    <a:pt x="210" y="3097"/>
                  </a:lnTo>
                  <a:lnTo>
                    <a:pt x="179" y="3124"/>
                  </a:lnTo>
                  <a:lnTo>
                    <a:pt x="291" y="3130"/>
                  </a:lnTo>
                  <a:lnTo>
                    <a:pt x="290" y="3159"/>
                  </a:lnTo>
                  <a:lnTo>
                    <a:pt x="234" y="3156"/>
                  </a:lnTo>
                  <a:lnTo>
                    <a:pt x="260" y="3187"/>
                  </a:lnTo>
                  <a:lnTo>
                    <a:pt x="285" y="3217"/>
                  </a:lnTo>
                  <a:lnTo>
                    <a:pt x="314" y="3218"/>
                  </a:lnTo>
                  <a:lnTo>
                    <a:pt x="229" y="3243"/>
                  </a:lnTo>
                  <a:lnTo>
                    <a:pt x="254" y="3304"/>
                  </a:lnTo>
                  <a:lnTo>
                    <a:pt x="310" y="3307"/>
                  </a:lnTo>
                  <a:lnTo>
                    <a:pt x="307" y="3364"/>
                  </a:lnTo>
                  <a:lnTo>
                    <a:pt x="304" y="3423"/>
                  </a:lnTo>
                  <a:lnTo>
                    <a:pt x="384" y="3485"/>
                  </a:lnTo>
                  <a:lnTo>
                    <a:pt x="439" y="3488"/>
                  </a:lnTo>
                  <a:lnTo>
                    <a:pt x="466" y="3519"/>
                  </a:lnTo>
                  <a:lnTo>
                    <a:pt x="494" y="3521"/>
                  </a:lnTo>
                  <a:lnTo>
                    <a:pt x="523" y="3522"/>
                  </a:lnTo>
                  <a:lnTo>
                    <a:pt x="518" y="3581"/>
                  </a:lnTo>
                  <a:lnTo>
                    <a:pt x="546" y="3582"/>
                  </a:lnTo>
                  <a:lnTo>
                    <a:pt x="518" y="3581"/>
                  </a:lnTo>
                  <a:lnTo>
                    <a:pt x="543" y="3640"/>
                  </a:lnTo>
                  <a:lnTo>
                    <a:pt x="598" y="3642"/>
                  </a:lnTo>
                  <a:lnTo>
                    <a:pt x="598" y="3672"/>
                  </a:lnTo>
                  <a:lnTo>
                    <a:pt x="623" y="3732"/>
                  </a:lnTo>
                  <a:lnTo>
                    <a:pt x="702" y="3794"/>
                  </a:lnTo>
                  <a:lnTo>
                    <a:pt x="701" y="3823"/>
                  </a:lnTo>
                  <a:lnTo>
                    <a:pt x="729" y="3825"/>
                  </a:lnTo>
                  <a:lnTo>
                    <a:pt x="781" y="3886"/>
                  </a:lnTo>
                  <a:lnTo>
                    <a:pt x="780" y="3915"/>
                  </a:lnTo>
                  <a:lnTo>
                    <a:pt x="778" y="3944"/>
                  </a:lnTo>
                  <a:lnTo>
                    <a:pt x="777" y="3974"/>
                  </a:lnTo>
                  <a:lnTo>
                    <a:pt x="803" y="4004"/>
                  </a:lnTo>
                  <a:lnTo>
                    <a:pt x="802" y="4033"/>
                  </a:lnTo>
                  <a:lnTo>
                    <a:pt x="830" y="4034"/>
                  </a:lnTo>
                  <a:lnTo>
                    <a:pt x="828" y="4065"/>
                  </a:lnTo>
                  <a:lnTo>
                    <a:pt x="799" y="4092"/>
                  </a:lnTo>
                  <a:lnTo>
                    <a:pt x="825" y="4122"/>
                  </a:lnTo>
                  <a:lnTo>
                    <a:pt x="827" y="4093"/>
                  </a:lnTo>
                  <a:lnTo>
                    <a:pt x="855" y="4095"/>
                  </a:lnTo>
                  <a:lnTo>
                    <a:pt x="824" y="4151"/>
                  </a:lnTo>
                  <a:lnTo>
                    <a:pt x="850" y="4183"/>
                  </a:lnTo>
                  <a:lnTo>
                    <a:pt x="794" y="4179"/>
                  </a:lnTo>
                  <a:lnTo>
                    <a:pt x="761" y="4265"/>
                  </a:lnTo>
                  <a:lnTo>
                    <a:pt x="788" y="4295"/>
                  </a:lnTo>
                  <a:lnTo>
                    <a:pt x="814" y="4325"/>
                  </a:lnTo>
                  <a:lnTo>
                    <a:pt x="813" y="4356"/>
                  </a:lnTo>
                  <a:lnTo>
                    <a:pt x="842" y="4328"/>
                  </a:lnTo>
                  <a:lnTo>
                    <a:pt x="870" y="4329"/>
                  </a:lnTo>
                  <a:lnTo>
                    <a:pt x="872" y="4299"/>
                  </a:lnTo>
                  <a:lnTo>
                    <a:pt x="899" y="4301"/>
                  </a:lnTo>
                  <a:lnTo>
                    <a:pt x="928" y="4303"/>
                  </a:lnTo>
                  <a:lnTo>
                    <a:pt x="925" y="4332"/>
                  </a:lnTo>
                  <a:lnTo>
                    <a:pt x="924" y="4360"/>
                  </a:lnTo>
                  <a:lnTo>
                    <a:pt x="950" y="4391"/>
                  </a:lnTo>
                  <a:lnTo>
                    <a:pt x="948" y="4421"/>
                  </a:lnTo>
                  <a:lnTo>
                    <a:pt x="975" y="4452"/>
                  </a:lnTo>
                  <a:lnTo>
                    <a:pt x="974" y="4480"/>
                  </a:lnTo>
                  <a:lnTo>
                    <a:pt x="1001" y="4481"/>
                  </a:lnTo>
                  <a:lnTo>
                    <a:pt x="1029" y="4483"/>
                  </a:lnTo>
                  <a:lnTo>
                    <a:pt x="1057" y="4485"/>
                  </a:lnTo>
                  <a:lnTo>
                    <a:pt x="1079" y="4603"/>
                  </a:lnTo>
                  <a:lnTo>
                    <a:pt x="1074" y="4719"/>
                  </a:lnTo>
                  <a:lnTo>
                    <a:pt x="1101" y="4721"/>
                  </a:lnTo>
                  <a:lnTo>
                    <a:pt x="1098" y="4779"/>
                  </a:lnTo>
                  <a:lnTo>
                    <a:pt x="1156" y="4724"/>
                  </a:lnTo>
                  <a:lnTo>
                    <a:pt x="1181" y="4783"/>
                  </a:lnTo>
                  <a:lnTo>
                    <a:pt x="1153" y="4782"/>
                  </a:lnTo>
                  <a:lnTo>
                    <a:pt x="1180" y="4813"/>
                  </a:lnTo>
                  <a:lnTo>
                    <a:pt x="1205" y="4872"/>
                  </a:lnTo>
                  <a:lnTo>
                    <a:pt x="1174" y="4900"/>
                  </a:lnTo>
                  <a:lnTo>
                    <a:pt x="1259" y="4903"/>
                  </a:lnTo>
                  <a:lnTo>
                    <a:pt x="1201" y="4931"/>
                  </a:lnTo>
                  <a:lnTo>
                    <a:pt x="1227" y="4961"/>
                  </a:lnTo>
                  <a:lnTo>
                    <a:pt x="1199" y="4960"/>
                  </a:lnTo>
                  <a:lnTo>
                    <a:pt x="1172" y="4959"/>
                  </a:lnTo>
                  <a:lnTo>
                    <a:pt x="1170" y="4987"/>
                  </a:lnTo>
                  <a:lnTo>
                    <a:pt x="1169" y="5017"/>
                  </a:lnTo>
                  <a:lnTo>
                    <a:pt x="1141" y="5015"/>
                  </a:lnTo>
                  <a:lnTo>
                    <a:pt x="1167" y="5045"/>
                  </a:lnTo>
                  <a:lnTo>
                    <a:pt x="1197" y="5018"/>
                  </a:lnTo>
                  <a:lnTo>
                    <a:pt x="1249" y="5079"/>
                  </a:lnTo>
                  <a:lnTo>
                    <a:pt x="1305" y="5082"/>
                  </a:lnTo>
                  <a:lnTo>
                    <a:pt x="1250" y="5050"/>
                  </a:lnTo>
                  <a:lnTo>
                    <a:pt x="1281" y="5023"/>
                  </a:lnTo>
                  <a:lnTo>
                    <a:pt x="1307" y="5053"/>
                  </a:lnTo>
                  <a:lnTo>
                    <a:pt x="1392" y="5028"/>
                  </a:lnTo>
                  <a:lnTo>
                    <a:pt x="1365" y="4998"/>
                  </a:lnTo>
                  <a:lnTo>
                    <a:pt x="1421" y="5000"/>
                  </a:lnTo>
                  <a:lnTo>
                    <a:pt x="1480" y="4946"/>
                  </a:lnTo>
                  <a:lnTo>
                    <a:pt x="1483" y="4887"/>
                  </a:lnTo>
                  <a:lnTo>
                    <a:pt x="1485" y="4857"/>
                  </a:lnTo>
                  <a:lnTo>
                    <a:pt x="1483" y="4887"/>
                  </a:lnTo>
                  <a:lnTo>
                    <a:pt x="1508" y="4947"/>
                  </a:lnTo>
                  <a:lnTo>
                    <a:pt x="1534" y="4977"/>
                  </a:lnTo>
                  <a:lnTo>
                    <a:pt x="1562" y="4978"/>
                  </a:lnTo>
                  <a:lnTo>
                    <a:pt x="1558" y="5066"/>
                  </a:lnTo>
                  <a:lnTo>
                    <a:pt x="1586" y="5067"/>
                  </a:lnTo>
                  <a:lnTo>
                    <a:pt x="1638" y="5129"/>
                  </a:lnTo>
                  <a:lnTo>
                    <a:pt x="1667" y="5102"/>
                  </a:lnTo>
                  <a:lnTo>
                    <a:pt x="1696" y="5073"/>
                  </a:lnTo>
                  <a:lnTo>
                    <a:pt x="1752" y="5077"/>
                  </a:lnTo>
                  <a:lnTo>
                    <a:pt x="1754" y="5046"/>
                  </a:lnTo>
                  <a:lnTo>
                    <a:pt x="1782" y="5048"/>
                  </a:lnTo>
                  <a:lnTo>
                    <a:pt x="1865" y="5053"/>
                  </a:lnTo>
                  <a:lnTo>
                    <a:pt x="1919" y="5085"/>
                  </a:lnTo>
                  <a:lnTo>
                    <a:pt x="1948" y="5086"/>
                  </a:lnTo>
                  <a:lnTo>
                    <a:pt x="1976" y="5058"/>
                  </a:lnTo>
                  <a:lnTo>
                    <a:pt x="2006" y="5030"/>
                  </a:lnTo>
                  <a:lnTo>
                    <a:pt x="2035" y="5003"/>
                  </a:lnTo>
                  <a:lnTo>
                    <a:pt x="2037" y="4974"/>
                  </a:lnTo>
                </a:path>
              </a:pathLst>
            </a:custGeom>
            <a:solidFill>
              <a:srgbClr val="B2C2D1"/>
            </a:solidFill>
            <a:ln w="9525">
              <a:noFill/>
              <a:round/>
              <a:headEnd/>
              <a:tailEnd/>
            </a:ln>
          </p:spPr>
          <p:txBody>
            <a:bodyPr/>
            <a:lstStyle/>
            <a:p>
              <a:endParaRPr lang="el-GR"/>
            </a:p>
          </p:txBody>
        </p:sp>
        <p:sp>
          <p:nvSpPr>
            <p:cNvPr id="290" name="Freeform 167"/>
            <p:cNvSpPr>
              <a:spLocks/>
            </p:cNvSpPr>
            <p:nvPr/>
          </p:nvSpPr>
          <p:spPr bwMode="auto">
            <a:xfrm>
              <a:off x="1760" y="1435"/>
              <a:ext cx="127" cy="177"/>
            </a:xfrm>
            <a:custGeom>
              <a:avLst/>
              <a:gdLst>
                <a:gd name="T0" fmla="*/ 19 w 535"/>
                <a:gd name="T1" fmla="*/ 20 h 746"/>
                <a:gd name="T2" fmla="*/ 20 w 535"/>
                <a:gd name="T3" fmla="*/ 19 h 746"/>
                <a:gd name="T4" fmla="*/ 19 w 535"/>
                <a:gd name="T5" fmla="*/ 17 h 746"/>
                <a:gd name="T6" fmla="*/ 14 w 535"/>
                <a:gd name="T7" fmla="*/ 15 h 746"/>
                <a:gd name="T8" fmla="*/ 12 w 535"/>
                <a:gd name="T9" fmla="*/ 15 h 746"/>
                <a:gd name="T10" fmla="*/ 14 w 535"/>
                <a:gd name="T11" fmla="*/ 13 h 746"/>
                <a:gd name="T12" fmla="*/ 14 w 535"/>
                <a:gd name="T13" fmla="*/ 10 h 746"/>
                <a:gd name="T14" fmla="*/ 16 w 535"/>
                <a:gd name="T15" fmla="*/ 8 h 746"/>
                <a:gd name="T16" fmla="*/ 19 w 535"/>
                <a:gd name="T17" fmla="*/ 9 h 746"/>
                <a:gd name="T18" fmla="*/ 21 w 535"/>
                <a:gd name="T19" fmla="*/ 7 h 746"/>
                <a:gd name="T20" fmla="*/ 21 w 535"/>
                <a:gd name="T21" fmla="*/ 5 h 746"/>
                <a:gd name="T22" fmla="*/ 21 w 535"/>
                <a:gd name="T23" fmla="*/ 4 h 746"/>
                <a:gd name="T24" fmla="*/ 18 w 535"/>
                <a:gd name="T25" fmla="*/ 2 h 746"/>
                <a:gd name="T26" fmla="*/ 15 w 535"/>
                <a:gd name="T27" fmla="*/ 0 h 746"/>
                <a:gd name="T28" fmla="*/ 12 w 535"/>
                <a:gd name="T29" fmla="*/ 1 h 746"/>
                <a:gd name="T30" fmla="*/ 7 w 535"/>
                <a:gd name="T31" fmla="*/ 1 h 746"/>
                <a:gd name="T32" fmla="*/ 5 w 535"/>
                <a:gd name="T33" fmla="*/ 1 h 746"/>
                <a:gd name="T34" fmla="*/ 4 w 535"/>
                <a:gd name="T35" fmla="*/ 1 h 746"/>
                <a:gd name="T36" fmla="*/ 2 w 535"/>
                <a:gd name="T37" fmla="*/ 1 h 746"/>
                <a:gd name="T38" fmla="*/ 0 w 535"/>
                <a:gd name="T39" fmla="*/ 3 h 746"/>
                <a:gd name="T40" fmla="*/ 0 w 535"/>
                <a:gd name="T41" fmla="*/ 4 h 746"/>
                <a:gd name="T42" fmla="*/ 0 w 535"/>
                <a:gd name="T43" fmla="*/ 6 h 746"/>
                <a:gd name="T44" fmla="*/ 0 w 535"/>
                <a:gd name="T45" fmla="*/ 7 h 746"/>
                <a:gd name="T46" fmla="*/ 0 w 535"/>
                <a:gd name="T47" fmla="*/ 9 h 746"/>
                <a:gd name="T48" fmla="*/ 2 w 535"/>
                <a:gd name="T49" fmla="*/ 8 h 746"/>
                <a:gd name="T50" fmla="*/ 2 w 535"/>
                <a:gd name="T51" fmla="*/ 9 h 746"/>
                <a:gd name="T52" fmla="*/ 1 w 535"/>
                <a:gd name="T53" fmla="*/ 11 h 746"/>
                <a:gd name="T54" fmla="*/ 3 w 535"/>
                <a:gd name="T55" fmla="*/ 13 h 746"/>
                <a:gd name="T56" fmla="*/ 6 w 535"/>
                <a:gd name="T57" fmla="*/ 13 h 746"/>
                <a:gd name="T58" fmla="*/ 6 w 535"/>
                <a:gd name="T59" fmla="*/ 16 h 746"/>
                <a:gd name="T60" fmla="*/ 7 w 535"/>
                <a:gd name="T61" fmla="*/ 18 h 746"/>
                <a:gd name="T62" fmla="*/ 9 w 535"/>
                <a:gd name="T63" fmla="*/ 18 h 746"/>
                <a:gd name="T64" fmla="*/ 7 w 535"/>
                <a:gd name="T65" fmla="*/ 19 h 746"/>
                <a:gd name="T66" fmla="*/ 10 w 535"/>
                <a:gd name="T67" fmla="*/ 20 h 746"/>
                <a:gd name="T68" fmla="*/ 12 w 535"/>
                <a:gd name="T69" fmla="*/ 23 h 746"/>
                <a:gd name="T70" fmla="*/ 13 w 535"/>
                <a:gd name="T71" fmla="*/ 30 h 746"/>
                <a:gd name="T72" fmla="*/ 13 w 535"/>
                <a:gd name="T73" fmla="*/ 31 h 746"/>
                <a:gd name="T74" fmla="*/ 13 w 535"/>
                <a:gd name="T75" fmla="*/ 33 h 746"/>
                <a:gd name="T76" fmla="*/ 16 w 535"/>
                <a:gd name="T77" fmla="*/ 35 h 746"/>
                <a:gd name="T78" fmla="*/ 18 w 535"/>
                <a:gd name="T79" fmla="*/ 35 h 746"/>
                <a:gd name="T80" fmla="*/ 21 w 535"/>
                <a:gd name="T81" fmla="*/ 37 h 746"/>
                <a:gd name="T82" fmla="*/ 22 w 535"/>
                <a:gd name="T83" fmla="*/ 38 h 746"/>
                <a:gd name="T84" fmla="*/ 25 w 535"/>
                <a:gd name="T85" fmla="*/ 38 h 746"/>
                <a:gd name="T86" fmla="*/ 27 w 535"/>
                <a:gd name="T87" fmla="*/ 40 h 746"/>
                <a:gd name="T88" fmla="*/ 30 w 535"/>
                <a:gd name="T89" fmla="*/ 42 h 746"/>
                <a:gd name="T90" fmla="*/ 30 w 535"/>
                <a:gd name="T91" fmla="*/ 39 h 746"/>
                <a:gd name="T92" fmla="*/ 29 w 535"/>
                <a:gd name="T93" fmla="*/ 34 h 746"/>
                <a:gd name="T94" fmla="*/ 29 w 535"/>
                <a:gd name="T95" fmla="*/ 32 h 746"/>
                <a:gd name="T96" fmla="*/ 27 w 535"/>
                <a:gd name="T97" fmla="*/ 32 h 746"/>
                <a:gd name="T98" fmla="*/ 26 w 535"/>
                <a:gd name="T99" fmla="*/ 33 h 746"/>
                <a:gd name="T100" fmla="*/ 24 w 535"/>
                <a:gd name="T101" fmla="*/ 33 h 746"/>
                <a:gd name="T102" fmla="*/ 23 w 535"/>
                <a:gd name="T103" fmla="*/ 32 h 746"/>
                <a:gd name="T104" fmla="*/ 19 w 535"/>
                <a:gd name="T105" fmla="*/ 30 h 746"/>
                <a:gd name="T106" fmla="*/ 18 w 535"/>
                <a:gd name="T107" fmla="*/ 30 h 746"/>
                <a:gd name="T108" fmla="*/ 20 w 535"/>
                <a:gd name="T109" fmla="*/ 27 h 746"/>
                <a:gd name="T110" fmla="*/ 18 w 535"/>
                <a:gd name="T111" fmla="*/ 23 h 746"/>
                <a:gd name="T112" fmla="*/ 18 w 535"/>
                <a:gd name="T113" fmla="*/ 22 h 746"/>
                <a:gd name="T114" fmla="*/ 17 w 535"/>
                <a:gd name="T115" fmla="*/ 20 h 746"/>
                <a:gd name="T116" fmla="*/ 19 w 535"/>
                <a:gd name="T117" fmla="*/ 20 h 7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35"/>
                <a:gd name="T178" fmla="*/ 0 h 746"/>
                <a:gd name="T179" fmla="*/ 535 w 535"/>
                <a:gd name="T180" fmla="*/ 746 h 7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35" h="746">
                  <a:moveTo>
                    <a:pt x="327" y="355"/>
                  </a:moveTo>
                  <a:lnTo>
                    <a:pt x="357" y="327"/>
                  </a:lnTo>
                  <a:lnTo>
                    <a:pt x="330" y="297"/>
                  </a:lnTo>
                  <a:lnTo>
                    <a:pt x="248" y="263"/>
                  </a:lnTo>
                  <a:lnTo>
                    <a:pt x="220" y="262"/>
                  </a:lnTo>
                  <a:lnTo>
                    <a:pt x="250" y="234"/>
                  </a:lnTo>
                  <a:lnTo>
                    <a:pt x="252" y="176"/>
                  </a:lnTo>
                  <a:lnTo>
                    <a:pt x="282" y="148"/>
                  </a:lnTo>
                  <a:lnTo>
                    <a:pt x="338" y="151"/>
                  </a:lnTo>
                  <a:lnTo>
                    <a:pt x="368" y="123"/>
                  </a:lnTo>
                  <a:lnTo>
                    <a:pt x="369" y="93"/>
                  </a:lnTo>
                  <a:lnTo>
                    <a:pt x="371" y="64"/>
                  </a:lnTo>
                  <a:lnTo>
                    <a:pt x="316" y="32"/>
                  </a:lnTo>
                  <a:lnTo>
                    <a:pt x="262" y="0"/>
                  </a:lnTo>
                  <a:lnTo>
                    <a:pt x="205" y="26"/>
                  </a:lnTo>
                  <a:lnTo>
                    <a:pt x="120" y="22"/>
                  </a:lnTo>
                  <a:lnTo>
                    <a:pt x="92" y="20"/>
                  </a:lnTo>
                  <a:lnTo>
                    <a:pt x="64" y="19"/>
                  </a:lnTo>
                  <a:lnTo>
                    <a:pt x="36" y="18"/>
                  </a:lnTo>
                  <a:lnTo>
                    <a:pt x="6" y="45"/>
                  </a:lnTo>
                  <a:lnTo>
                    <a:pt x="5" y="74"/>
                  </a:lnTo>
                  <a:lnTo>
                    <a:pt x="3" y="104"/>
                  </a:lnTo>
                  <a:lnTo>
                    <a:pt x="2" y="132"/>
                  </a:lnTo>
                  <a:lnTo>
                    <a:pt x="0" y="163"/>
                  </a:lnTo>
                  <a:lnTo>
                    <a:pt x="30" y="135"/>
                  </a:lnTo>
                  <a:lnTo>
                    <a:pt x="28" y="164"/>
                  </a:lnTo>
                  <a:lnTo>
                    <a:pt x="27" y="192"/>
                  </a:lnTo>
                  <a:lnTo>
                    <a:pt x="53" y="223"/>
                  </a:lnTo>
                  <a:lnTo>
                    <a:pt x="109" y="227"/>
                  </a:lnTo>
                  <a:lnTo>
                    <a:pt x="106" y="285"/>
                  </a:lnTo>
                  <a:lnTo>
                    <a:pt x="132" y="315"/>
                  </a:lnTo>
                  <a:lnTo>
                    <a:pt x="160" y="316"/>
                  </a:lnTo>
                  <a:lnTo>
                    <a:pt x="131" y="345"/>
                  </a:lnTo>
                  <a:lnTo>
                    <a:pt x="187" y="348"/>
                  </a:lnTo>
                  <a:lnTo>
                    <a:pt x="211" y="407"/>
                  </a:lnTo>
                  <a:lnTo>
                    <a:pt x="234" y="525"/>
                  </a:lnTo>
                  <a:lnTo>
                    <a:pt x="233" y="556"/>
                  </a:lnTo>
                  <a:lnTo>
                    <a:pt x="231" y="584"/>
                  </a:lnTo>
                  <a:lnTo>
                    <a:pt x="285" y="617"/>
                  </a:lnTo>
                  <a:lnTo>
                    <a:pt x="313" y="618"/>
                  </a:lnTo>
                  <a:lnTo>
                    <a:pt x="368" y="650"/>
                  </a:lnTo>
                  <a:lnTo>
                    <a:pt x="394" y="681"/>
                  </a:lnTo>
                  <a:lnTo>
                    <a:pt x="450" y="683"/>
                  </a:lnTo>
                  <a:lnTo>
                    <a:pt x="476" y="715"/>
                  </a:lnTo>
                  <a:lnTo>
                    <a:pt x="532" y="746"/>
                  </a:lnTo>
                  <a:lnTo>
                    <a:pt x="535" y="689"/>
                  </a:lnTo>
                  <a:lnTo>
                    <a:pt x="512" y="599"/>
                  </a:lnTo>
                  <a:lnTo>
                    <a:pt x="512" y="571"/>
                  </a:lnTo>
                  <a:lnTo>
                    <a:pt x="485" y="569"/>
                  </a:lnTo>
                  <a:lnTo>
                    <a:pt x="456" y="596"/>
                  </a:lnTo>
                  <a:lnTo>
                    <a:pt x="428" y="596"/>
                  </a:lnTo>
                  <a:lnTo>
                    <a:pt x="401" y="564"/>
                  </a:lnTo>
                  <a:lnTo>
                    <a:pt x="347" y="532"/>
                  </a:lnTo>
                  <a:lnTo>
                    <a:pt x="318" y="531"/>
                  </a:lnTo>
                  <a:lnTo>
                    <a:pt x="349" y="473"/>
                  </a:lnTo>
                  <a:lnTo>
                    <a:pt x="324" y="413"/>
                  </a:lnTo>
                  <a:lnTo>
                    <a:pt x="326" y="385"/>
                  </a:lnTo>
                  <a:lnTo>
                    <a:pt x="299" y="353"/>
                  </a:lnTo>
                  <a:lnTo>
                    <a:pt x="327" y="355"/>
                  </a:lnTo>
                  <a:close/>
                </a:path>
              </a:pathLst>
            </a:custGeom>
            <a:solidFill>
              <a:srgbClr val="B2C2D1"/>
            </a:solidFill>
            <a:ln w="9525">
              <a:noFill/>
              <a:round/>
              <a:headEnd/>
              <a:tailEnd/>
            </a:ln>
          </p:spPr>
          <p:txBody>
            <a:bodyPr/>
            <a:lstStyle/>
            <a:p>
              <a:endParaRPr lang="el-GR"/>
            </a:p>
          </p:txBody>
        </p:sp>
        <p:sp>
          <p:nvSpPr>
            <p:cNvPr id="291" name="Freeform 168"/>
            <p:cNvSpPr>
              <a:spLocks/>
            </p:cNvSpPr>
            <p:nvPr/>
          </p:nvSpPr>
          <p:spPr bwMode="auto">
            <a:xfrm>
              <a:off x="1760" y="1435"/>
              <a:ext cx="127" cy="177"/>
            </a:xfrm>
            <a:custGeom>
              <a:avLst/>
              <a:gdLst>
                <a:gd name="T0" fmla="*/ 19 w 535"/>
                <a:gd name="T1" fmla="*/ 20 h 746"/>
                <a:gd name="T2" fmla="*/ 20 w 535"/>
                <a:gd name="T3" fmla="*/ 19 h 746"/>
                <a:gd name="T4" fmla="*/ 19 w 535"/>
                <a:gd name="T5" fmla="*/ 17 h 746"/>
                <a:gd name="T6" fmla="*/ 14 w 535"/>
                <a:gd name="T7" fmla="*/ 15 h 746"/>
                <a:gd name="T8" fmla="*/ 12 w 535"/>
                <a:gd name="T9" fmla="*/ 15 h 746"/>
                <a:gd name="T10" fmla="*/ 14 w 535"/>
                <a:gd name="T11" fmla="*/ 13 h 746"/>
                <a:gd name="T12" fmla="*/ 14 w 535"/>
                <a:gd name="T13" fmla="*/ 10 h 746"/>
                <a:gd name="T14" fmla="*/ 16 w 535"/>
                <a:gd name="T15" fmla="*/ 8 h 746"/>
                <a:gd name="T16" fmla="*/ 19 w 535"/>
                <a:gd name="T17" fmla="*/ 9 h 746"/>
                <a:gd name="T18" fmla="*/ 21 w 535"/>
                <a:gd name="T19" fmla="*/ 7 h 746"/>
                <a:gd name="T20" fmla="*/ 21 w 535"/>
                <a:gd name="T21" fmla="*/ 5 h 746"/>
                <a:gd name="T22" fmla="*/ 21 w 535"/>
                <a:gd name="T23" fmla="*/ 4 h 746"/>
                <a:gd name="T24" fmla="*/ 18 w 535"/>
                <a:gd name="T25" fmla="*/ 2 h 746"/>
                <a:gd name="T26" fmla="*/ 15 w 535"/>
                <a:gd name="T27" fmla="*/ 0 h 746"/>
                <a:gd name="T28" fmla="*/ 12 w 535"/>
                <a:gd name="T29" fmla="*/ 1 h 746"/>
                <a:gd name="T30" fmla="*/ 7 w 535"/>
                <a:gd name="T31" fmla="*/ 1 h 746"/>
                <a:gd name="T32" fmla="*/ 5 w 535"/>
                <a:gd name="T33" fmla="*/ 1 h 746"/>
                <a:gd name="T34" fmla="*/ 4 w 535"/>
                <a:gd name="T35" fmla="*/ 1 h 746"/>
                <a:gd name="T36" fmla="*/ 2 w 535"/>
                <a:gd name="T37" fmla="*/ 1 h 746"/>
                <a:gd name="T38" fmla="*/ 0 w 535"/>
                <a:gd name="T39" fmla="*/ 3 h 746"/>
                <a:gd name="T40" fmla="*/ 0 w 535"/>
                <a:gd name="T41" fmla="*/ 4 h 746"/>
                <a:gd name="T42" fmla="*/ 0 w 535"/>
                <a:gd name="T43" fmla="*/ 6 h 746"/>
                <a:gd name="T44" fmla="*/ 0 w 535"/>
                <a:gd name="T45" fmla="*/ 7 h 746"/>
                <a:gd name="T46" fmla="*/ 0 w 535"/>
                <a:gd name="T47" fmla="*/ 9 h 746"/>
                <a:gd name="T48" fmla="*/ 2 w 535"/>
                <a:gd name="T49" fmla="*/ 8 h 746"/>
                <a:gd name="T50" fmla="*/ 2 w 535"/>
                <a:gd name="T51" fmla="*/ 9 h 746"/>
                <a:gd name="T52" fmla="*/ 1 w 535"/>
                <a:gd name="T53" fmla="*/ 11 h 746"/>
                <a:gd name="T54" fmla="*/ 3 w 535"/>
                <a:gd name="T55" fmla="*/ 13 h 746"/>
                <a:gd name="T56" fmla="*/ 6 w 535"/>
                <a:gd name="T57" fmla="*/ 13 h 746"/>
                <a:gd name="T58" fmla="*/ 6 w 535"/>
                <a:gd name="T59" fmla="*/ 16 h 746"/>
                <a:gd name="T60" fmla="*/ 7 w 535"/>
                <a:gd name="T61" fmla="*/ 18 h 746"/>
                <a:gd name="T62" fmla="*/ 9 w 535"/>
                <a:gd name="T63" fmla="*/ 18 h 746"/>
                <a:gd name="T64" fmla="*/ 7 w 535"/>
                <a:gd name="T65" fmla="*/ 19 h 746"/>
                <a:gd name="T66" fmla="*/ 10 w 535"/>
                <a:gd name="T67" fmla="*/ 20 h 746"/>
                <a:gd name="T68" fmla="*/ 12 w 535"/>
                <a:gd name="T69" fmla="*/ 23 h 746"/>
                <a:gd name="T70" fmla="*/ 13 w 535"/>
                <a:gd name="T71" fmla="*/ 30 h 746"/>
                <a:gd name="T72" fmla="*/ 13 w 535"/>
                <a:gd name="T73" fmla="*/ 31 h 746"/>
                <a:gd name="T74" fmla="*/ 13 w 535"/>
                <a:gd name="T75" fmla="*/ 33 h 746"/>
                <a:gd name="T76" fmla="*/ 16 w 535"/>
                <a:gd name="T77" fmla="*/ 35 h 746"/>
                <a:gd name="T78" fmla="*/ 18 w 535"/>
                <a:gd name="T79" fmla="*/ 35 h 746"/>
                <a:gd name="T80" fmla="*/ 21 w 535"/>
                <a:gd name="T81" fmla="*/ 37 h 746"/>
                <a:gd name="T82" fmla="*/ 22 w 535"/>
                <a:gd name="T83" fmla="*/ 38 h 746"/>
                <a:gd name="T84" fmla="*/ 25 w 535"/>
                <a:gd name="T85" fmla="*/ 38 h 746"/>
                <a:gd name="T86" fmla="*/ 27 w 535"/>
                <a:gd name="T87" fmla="*/ 40 h 746"/>
                <a:gd name="T88" fmla="*/ 30 w 535"/>
                <a:gd name="T89" fmla="*/ 42 h 746"/>
                <a:gd name="T90" fmla="*/ 30 w 535"/>
                <a:gd name="T91" fmla="*/ 39 h 746"/>
                <a:gd name="T92" fmla="*/ 29 w 535"/>
                <a:gd name="T93" fmla="*/ 34 h 746"/>
                <a:gd name="T94" fmla="*/ 29 w 535"/>
                <a:gd name="T95" fmla="*/ 32 h 746"/>
                <a:gd name="T96" fmla="*/ 27 w 535"/>
                <a:gd name="T97" fmla="*/ 32 h 746"/>
                <a:gd name="T98" fmla="*/ 26 w 535"/>
                <a:gd name="T99" fmla="*/ 33 h 746"/>
                <a:gd name="T100" fmla="*/ 24 w 535"/>
                <a:gd name="T101" fmla="*/ 33 h 746"/>
                <a:gd name="T102" fmla="*/ 23 w 535"/>
                <a:gd name="T103" fmla="*/ 32 h 746"/>
                <a:gd name="T104" fmla="*/ 19 w 535"/>
                <a:gd name="T105" fmla="*/ 30 h 746"/>
                <a:gd name="T106" fmla="*/ 18 w 535"/>
                <a:gd name="T107" fmla="*/ 30 h 746"/>
                <a:gd name="T108" fmla="*/ 20 w 535"/>
                <a:gd name="T109" fmla="*/ 27 h 746"/>
                <a:gd name="T110" fmla="*/ 18 w 535"/>
                <a:gd name="T111" fmla="*/ 23 h 746"/>
                <a:gd name="T112" fmla="*/ 18 w 535"/>
                <a:gd name="T113" fmla="*/ 22 h 746"/>
                <a:gd name="T114" fmla="*/ 17 w 535"/>
                <a:gd name="T115" fmla="*/ 20 h 746"/>
                <a:gd name="T116" fmla="*/ 19 w 535"/>
                <a:gd name="T117" fmla="*/ 20 h 74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535"/>
                <a:gd name="T178" fmla="*/ 0 h 746"/>
                <a:gd name="T179" fmla="*/ 535 w 535"/>
                <a:gd name="T180" fmla="*/ 746 h 74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535" h="746">
                  <a:moveTo>
                    <a:pt x="327" y="355"/>
                  </a:moveTo>
                  <a:lnTo>
                    <a:pt x="357" y="327"/>
                  </a:lnTo>
                  <a:lnTo>
                    <a:pt x="330" y="297"/>
                  </a:lnTo>
                  <a:lnTo>
                    <a:pt x="248" y="263"/>
                  </a:lnTo>
                  <a:lnTo>
                    <a:pt x="220" y="262"/>
                  </a:lnTo>
                  <a:lnTo>
                    <a:pt x="250" y="234"/>
                  </a:lnTo>
                  <a:lnTo>
                    <a:pt x="252" y="176"/>
                  </a:lnTo>
                  <a:lnTo>
                    <a:pt x="282" y="148"/>
                  </a:lnTo>
                  <a:lnTo>
                    <a:pt x="338" y="151"/>
                  </a:lnTo>
                  <a:lnTo>
                    <a:pt x="368" y="123"/>
                  </a:lnTo>
                  <a:lnTo>
                    <a:pt x="369" y="93"/>
                  </a:lnTo>
                  <a:lnTo>
                    <a:pt x="371" y="64"/>
                  </a:lnTo>
                  <a:lnTo>
                    <a:pt x="316" y="32"/>
                  </a:lnTo>
                  <a:lnTo>
                    <a:pt x="262" y="0"/>
                  </a:lnTo>
                  <a:lnTo>
                    <a:pt x="205" y="26"/>
                  </a:lnTo>
                  <a:lnTo>
                    <a:pt x="120" y="22"/>
                  </a:lnTo>
                  <a:lnTo>
                    <a:pt x="92" y="20"/>
                  </a:lnTo>
                  <a:lnTo>
                    <a:pt x="64" y="19"/>
                  </a:lnTo>
                  <a:lnTo>
                    <a:pt x="36" y="18"/>
                  </a:lnTo>
                  <a:lnTo>
                    <a:pt x="6" y="45"/>
                  </a:lnTo>
                  <a:lnTo>
                    <a:pt x="5" y="74"/>
                  </a:lnTo>
                  <a:lnTo>
                    <a:pt x="3" y="104"/>
                  </a:lnTo>
                  <a:lnTo>
                    <a:pt x="2" y="132"/>
                  </a:lnTo>
                  <a:lnTo>
                    <a:pt x="0" y="163"/>
                  </a:lnTo>
                  <a:lnTo>
                    <a:pt x="30" y="135"/>
                  </a:lnTo>
                  <a:lnTo>
                    <a:pt x="28" y="164"/>
                  </a:lnTo>
                  <a:lnTo>
                    <a:pt x="27" y="192"/>
                  </a:lnTo>
                  <a:lnTo>
                    <a:pt x="53" y="223"/>
                  </a:lnTo>
                  <a:lnTo>
                    <a:pt x="109" y="227"/>
                  </a:lnTo>
                  <a:lnTo>
                    <a:pt x="106" y="285"/>
                  </a:lnTo>
                  <a:lnTo>
                    <a:pt x="132" y="315"/>
                  </a:lnTo>
                  <a:lnTo>
                    <a:pt x="160" y="316"/>
                  </a:lnTo>
                  <a:lnTo>
                    <a:pt x="131" y="345"/>
                  </a:lnTo>
                  <a:lnTo>
                    <a:pt x="187" y="348"/>
                  </a:lnTo>
                  <a:lnTo>
                    <a:pt x="211" y="407"/>
                  </a:lnTo>
                  <a:lnTo>
                    <a:pt x="234" y="525"/>
                  </a:lnTo>
                  <a:lnTo>
                    <a:pt x="233" y="556"/>
                  </a:lnTo>
                  <a:lnTo>
                    <a:pt x="231" y="584"/>
                  </a:lnTo>
                  <a:lnTo>
                    <a:pt x="285" y="617"/>
                  </a:lnTo>
                  <a:lnTo>
                    <a:pt x="313" y="618"/>
                  </a:lnTo>
                  <a:lnTo>
                    <a:pt x="368" y="650"/>
                  </a:lnTo>
                  <a:lnTo>
                    <a:pt x="394" y="681"/>
                  </a:lnTo>
                  <a:lnTo>
                    <a:pt x="450" y="683"/>
                  </a:lnTo>
                  <a:lnTo>
                    <a:pt x="476" y="715"/>
                  </a:lnTo>
                  <a:lnTo>
                    <a:pt x="532" y="746"/>
                  </a:lnTo>
                  <a:lnTo>
                    <a:pt x="535" y="689"/>
                  </a:lnTo>
                  <a:lnTo>
                    <a:pt x="512" y="599"/>
                  </a:lnTo>
                  <a:lnTo>
                    <a:pt x="512" y="571"/>
                  </a:lnTo>
                  <a:lnTo>
                    <a:pt x="485" y="569"/>
                  </a:lnTo>
                  <a:lnTo>
                    <a:pt x="456" y="596"/>
                  </a:lnTo>
                  <a:lnTo>
                    <a:pt x="428" y="596"/>
                  </a:lnTo>
                  <a:lnTo>
                    <a:pt x="401" y="564"/>
                  </a:lnTo>
                  <a:lnTo>
                    <a:pt x="347" y="532"/>
                  </a:lnTo>
                  <a:lnTo>
                    <a:pt x="318" y="531"/>
                  </a:lnTo>
                  <a:lnTo>
                    <a:pt x="349" y="473"/>
                  </a:lnTo>
                  <a:lnTo>
                    <a:pt x="324" y="413"/>
                  </a:lnTo>
                  <a:lnTo>
                    <a:pt x="326" y="385"/>
                  </a:lnTo>
                  <a:lnTo>
                    <a:pt x="299" y="353"/>
                  </a:lnTo>
                  <a:lnTo>
                    <a:pt x="327" y="355"/>
                  </a:lnTo>
                </a:path>
              </a:pathLst>
            </a:custGeom>
            <a:solidFill>
              <a:srgbClr val="B2C2D1"/>
            </a:solidFill>
            <a:ln w="9525">
              <a:noFill/>
              <a:round/>
              <a:headEnd/>
              <a:tailEnd/>
            </a:ln>
          </p:spPr>
          <p:txBody>
            <a:bodyPr/>
            <a:lstStyle/>
            <a:p>
              <a:endParaRPr lang="el-GR"/>
            </a:p>
          </p:txBody>
        </p:sp>
        <p:sp>
          <p:nvSpPr>
            <p:cNvPr id="292" name="Freeform 169"/>
            <p:cNvSpPr>
              <a:spLocks/>
            </p:cNvSpPr>
            <p:nvPr/>
          </p:nvSpPr>
          <p:spPr bwMode="auto">
            <a:xfrm>
              <a:off x="2805" y="2178"/>
              <a:ext cx="41" cy="48"/>
            </a:xfrm>
            <a:custGeom>
              <a:avLst/>
              <a:gdLst>
                <a:gd name="T0" fmla="*/ 7 w 172"/>
                <a:gd name="T1" fmla="*/ 0 h 202"/>
                <a:gd name="T2" fmla="*/ 7 w 172"/>
                <a:gd name="T3" fmla="*/ 0 h 202"/>
                <a:gd name="T4" fmla="*/ 8 w 172"/>
                <a:gd name="T5" fmla="*/ 4 h 202"/>
                <a:gd name="T6" fmla="*/ 10 w 172"/>
                <a:gd name="T7" fmla="*/ 5 h 202"/>
                <a:gd name="T8" fmla="*/ 8 w 172"/>
                <a:gd name="T9" fmla="*/ 7 h 202"/>
                <a:gd name="T10" fmla="*/ 10 w 172"/>
                <a:gd name="T11" fmla="*/ 7 h 202"/>
                <a:gd name="T12" fmla="*/ 10 w 172"/>
                <a:gd name="T13" fmla="*/ 9 h 202"/>
                <a:gd name="T14" fmla="*/ 8 w 172"/>
                <a:gd name="T15" fmla="*/ 8 h 202"/>
                <a:gd name="T16" fmla="*/ 6 w 172"/>
                <a:gd name="T17" fmla="*/ 10 h 202"/>
                <a:gd name="T18" fmla="*/ 6 w 172"/>
                <a:gd name="T19" fmla="*/ 8 h 202"/>
                <a:gd name="T20" fmla="*/ 6 w 172"/>
                <a:gd name="T21" fmla="*/ 10 h 202"/>
                <a:gd name="T22" fmla="*/ 3 w 172"/>
                <a:gd name="T23" fmla="*/ 11 h 202"/>
                <a:gd name="T24" fmla="*/ 0 w 172"/>
                <a:gd name="T25" fmla="*/ 10 h 202"/>
                <a:gd name="T26" fmla="*/ 0 w 172"/>
                <a:gd name="T27" fmla="*/ 8 h 202"/>
                <a:gd name="T28" fmla="*/ 0 w 172"/>
                <a:gd name="T29" fmla="*/ 6 h 202"/>
                <a:gd name="T30" fmla="*/ 3 w 172"/>
                <a:gd name="T31" fmla="*/ 6 h 202"/>
                <a:gd name="T32" fmla="*/ 5 w 172"/>
                <a:gd name="T33" fmla="*/ 7 h 202"/>
                <a:gd name="T34" fmla="*/ 7 w 172"/>
                <a:gd name="T35" fmla="*/ 3 h 202"/>
                <a:gd name="T36" fmla="*/ 5 w 172"/>
                <a:gd name="T37" fmla="*/ 5 h 202"/>
                <a:gd name="T38" fmla="*/ 2 w 172"/>
                <a:gd name="T39" fmla="*/ 5 h 202"/>
                <a:gd name="T40" fmla="*/ 0 w 172"/>
                <a:gd name="T41" fmla="*/ 3 h 202"/>
                <a:gd name="T42" fmla="*/ 4 w 172"/>
                <a:gd name="T43" fmla="*/ 3 h 202"/>
                <a:gd name="T44" fmla="*/ 2 w 172"/>
                <a:gd name="T45" fmla="*/ 3 h 202"/>
                <a:gd name="T46" fmla="*/ 5 w 172"/>
                <a:gd name="T47" fmla="*/ 2 h 202"/>
                <a:gd name="T48" fmla="*/ 5 w 172"/>
                <a:gd name="T49" fmla="*/ 0 h 202"/>
                <a:gd name="T50" fmla="*/ 7 w 172"/>
                <a:gd name="T51" fmla="*/ 0 h 2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2"/>
                <a:gd name="T79" fmla="*/ 0 h 202"/>
                <a:gd name="T80" fmla="*/ 172 w 172"/>
                <a:gd name="T81" fmla="*/ 202 h 20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2" h="202">
                  <a:moveTo>
                    <a:pt x="121" y="1"/>
                  </a:moveTo>
                  <a:lnTo>
                    <a:pt x="121" y="1"/>
                  </a:lnTo>
                  <a:lnTo>
                    <a:pt x="146" y="62"/>
                  </a:lnTo>
                  <a:lnTo>
                    <a:pt x="172" y="92"/>
                  </a:lnTo>
                  <a:lnTo>
                    <a:pt x="144" y="119"/>
                  </a:lnTo>
                  <a:lnTo>
                    <a:pt x="171" y="121"/>
                  </a:lnTo>
                  <a:lnTo>
                    <a:pt x="170" y="150"/>
                  </a:lnTo>
                  <a:lnTo>
                    <a:pt x="142" y="149"/>
                  </a:lnTo>
                  <a:lnTo>
                    <a:pt x="113" y="176"/>
                  </a:lnTo>
                  <a:lnTo>
                    <a:pt x="114" y="147"/>
                  </a:lnTo>
                  <a:lnTo>
                    <a:pt x="113" y="176"/>
                  </a:lnTo>
                  <a:lnTo>
                    <a:pt x="54" y="202"/>
                  </a:lnTo>
                  <a:lnTo>
                    <a:pt x="0" y="171"/>
                  </a:lnTo>
                  <a:lnTo>
                    <a:pt x="1" y="142"/>
                  </a:lnTo>
                  <a:lnTo>
                    <a:pt x="3" y="113"/>
                  </a:lnTo>
                  <a:lnTo>
                    <a:pt x="59" y="115"/>
                  </a:lnTo>
                  <a:lnTo>
                    <a:pt x="88" y="117"/>
                  </a:lnTo>
                  <a:lnTo>
                    <a:pt x="118" y="60"/>
                  </a:lnTo>
                  <a:lnTo>
                    <a:pt x="89" y="88"/>
                  </a:lnTo>
                  <a:lnTo>
                    <a:pt x="32" y="84"/>
                  </a:lnTo>
                  <a:lnTo>
                    <a:pt x="6" y="53"/>
                  </a:lnTo>
                  <a:lnTo>
                    <a:pt x="62" y="56"/>
                  </a:lnTo>
                  <a:lnTo>
                    <a:pt x="35" y="55"/>
                  </a:lnTo>
                  <a:lnTo>
                    <a:pt x="91" y="29"/>
                  </a:lnTo>
                  <a:lnTo>
                    <a:pt x="93" y="0"/>
                  </a:lnTo>
                  <a:lnTo>
                    <a:pt x="121" y="1"/>
                  </a:lnTo>
                  <a:close/>
                </a:path>
              </a:pathLst>
            </a:custGeom>
            <a:solidFill>
              <a:srgbClr val="B2C2D1"/>
            </a:solidFill>
            <a:ln w="9525">
              <a:noFill/>
              <a:round/>
              <a:headEnd/>
              <a:tailEnd/>
            </a:ln>
          </p:spPr>
          <p:txBody>
            <a:bodyPr/>
            <a:lstStyle/>
            <a:p>
              <a:endParaRPr lang="el-GR"/>
            </a:p>
          </p:txBody>
        </p:sp>
        <p:sp>
          <p:nvSpPr>
            <p:cNvPr id="293" name="Freeform 170"/>
            <p:cNvSpPr>
              <a:spLocks/>
            </p:cNvSpPr>
            <p:nvPr/>
          </p:nvSpPr>
          <p:spPr bwMode="auto">
            <a:xfrm>
              <a:off x="2805" y="2178"/>
              <a:ext cx="41" cy="48"/>
            </a:xfrm>
            <a:custGeom>
              <a:avLst/>
              <a:gdLst>
                <a:gd name="T0" fmla="*/ 7 w 172"/>
                <a:gd name="T1" fmla="*/ 0 h 202"/>
                <a:gd name="T2" fmla="*/ 7 w 172"/>
                <a:gd name="T3" fmla="*/ 0 h 202"/>
                <a:gd name="T4" fmla="*/ 8 w 172"/>
                <a:gd name="T5" fmla="*/ 4 h 202"/>
                <a:gd name="T6" fmla="*/ 10 w 172"/>
                <a:gd name="T7" fmla="*/ 5 h 202"/>
                <a:gd name="T8" fmla="*/ 8 w 172"/>
                <a:gd name="T9" fmla="*/ 7 h 202"/>
                <a:gd name="T10" fmla="*/ 10 w 172"/>
                <a:gd name="T11" fmla="*/ 7 h 202"/>
                <a:gd name="T12" fmla="*/ 10 w 172"/>
                <a:gd name="T13" fmla="*/ 9 h 202"/>
                <a:gd name="T14" fmla="*/ 8 w 172"/>
                <a:gd name="T15" fmla="*/ 8 h 202"/>
                <a:gd name="T16" fmla="*/ 6 w 172"/>
                <a:gd name="T17" fmla="*/ 10 h 202"/>
                <a:gd name="T18" fmla="*/ 6 w 172"/>
                <a:gd name="T19" fmla="*/ 8 h 202"/>
                <a:gd name="T20" fmla="*/ 6 w 172"/>
                <a:gd name="T21" fmla="*/ 10 h 202"/>
                <a:gd name="T22" fmla="*/ 3 w 172"/>
                <a:gd name="T23" fmla="*/ 11 h 202"/>
                <a:gd name="T24" fmla="*/ 0 w 172"/>
                <a:gd name="T25" fmla="*/ 10 h 202"/>
                <a:gd name="T26" fmla="*/ 0 w 172"/>
                <a:gd name="T27" fmla="*/ 8 h 202"/>
                <a:gd name="T28" fmla="*/ 0 w 172"/>
                <a:gd name="T29" fmla="*/ 6 h 202"/>
                <a:gd name="T30" fmla="*/ 3 w 172"/>
                <a:gd name="T31" fmla="*/ 6 h 202"/>
                <a:gd name="T32" fmla="*/ 5 w 172"/>
                <a:gd name="T33" fmla="*/ 7 h 202"/>
                <a:gd name="T34" fmla="*/ 7 w 172"/>
                <a:gd name="T35" fmla="*/ 3 h 202"/>
                <a:gd name="T36" fmla="*/ 5 w 172"/>
                <a:gd name="T37" fmla="*/ 5 h 202"/>
                <a:gd name="T38" fmla="*/ 2 w 172"/>
                <a:gd name="T39" fmla="*/ 5 h 202"/>
                <a:gd name="T40" fmla="*/ 0 w 172"/>
                <a:gd name="T41" fmla="*/ 3 h 202"/>
                <a:gd name="T42" fmla="*/ 4 w 172"/>
                <a:gd name="T43" fmla="*/ 3 h 202"/>
                <a:gd name="T44" fmla="*/ 2 w 172"/>
                <a:gd name="T45" fmla="*/ 3 h 202"/>
                <a:gd name="T46" fmla="*/ 5 w 172"/>
                <a:gd name="T47" fmla="*/ 2 h 202"/>
                <a:gd name="T48" fmla="*/ 5 w 172"/>
                <a:gd name="T49" fmla="*/ 0 h 202"/>
                <a:gd name="T50" fmla="*/ 7 w 172"/>
                <a:gd name="T51" fmla="*/ 0 h 20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72"/>
                <a:gd name="T79" fmla="*/ 0 h 202"/>
                <a:gd name="T80" fmla="*/ 172 w 172"/>
                <a:gd name="T81" fmla="*/ 202 h 20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72" h="202">
                  <a:moveTo>
                    <a:pt x="121" y="1"/>
                  </a:moveTo>
                  <a:lnTo>
                    <a:pt x="121" y="1"/>
                  </a:lnTo>
                  <a:lnTo>
                    <a:pt x="146" y="62"/>
                  </a:lnTo>
                  <a:lnTo>
                    <a:pt x="172" y="92"/>
                  </a:lnTo>
                  <a:lnTo>
                    <a:pt x="144" y="119"/>
                  </a:lnTo>
                  <a:lnTo>
                    <a:pt x="171" y="121"/>
                  </a:lnTo>
                  <a:lnTo>
                    <a:pt x="170" y="150"/>
                  </a:lnTo>
                  <a:lnTo>
                    <a:pt x="142" y="149"/>
                  </a:lnTo>
                  <a:lnTo>
                    <a:pt x="113" y="176"/>
                  </a:lnTo>
                  <a:lnTo>
                    <a:pt x="114" y="147"/>
                  </a:lnTo>
                  <a:lnTo>
                    <a:pt x="113" y="176"/>
                  </a:lnTo>
                  <a:lnTo>
                    <a:pt x="54" y="202"/>
                  </a:lnTo>
                  <a:lnTo>
                    <a:pt x="0" y="171"/>
                  </a:lnTo>
                  <a:lnTo>
                    <a:pt x="1" y="142"/>
                  </a:lnTo>
                  <a:lnTo>
                    <a:pt x="3" y="113"/>
                  </a:lnTo>
                  <a:lnTo>
                    <a:pt x="59" y="115"/>
                  </a:lnTo>
                  <a:lnTo>
                    <a:pt x="88" y="117"/>
                  </a:lnTo>
                  <a:lnTo>
                    <a:pt x="118" y="60"/>
                  </a:lnTo>
                  <a:lnTo>
                    <a:pt x="89" y="88"/>
                  </a:lnTo>
                  <a:lnTo>
                    <a:pt x="32" y="84"/>
                  </a:lnTo>
                  <a:lnTo>
                    <a:pt x="6" y="53"/>
                  </a:lnTo>
                  <a:lnTo>
                    <a:pt x="62" y="56"/>
                  </a:lnTo>
                  <a:lnTo>
                    <a:pt x="35" y="55"/>
                  </a:lnTo>
                  <a:lnTo>
                    <a:pt x="91" y="29"/>
                  </a:lnTo>
                  <a:lnTo>
                    <a:pt x="93" y="0"/>
                  </a:lnTo>
                  <a:lnTo>
                    <a:pt x="121" y="1"/>
                  </a:lnTo>
                </a:path>
              </a:pathLst>
            </a:custGeom>
            <a:solidFill>
              <a:srgbClr val="B2C2D1"/>
            </a:solidFill>
            <a:ln w="9525">
              <a:noFill/>
              <a:round/>
              <a:headEnd/>
              <a:tailEnd/>
            </a:ln>
          </p:spPr>
          <p:txBody>
            <a:bodyPr/>
            <a:lstStyle/>
            <a:p>
              <a:endParaRPr lang="el-GR"/>
            </a:p>
          </p:txBody>
        </p:sp>
        <p:sp>
          <p:nvSpPr>
            <p:cNvPr id="294" name="Freeform 171"/>
            <p:cNvSpPr>
              <a:spLocks/>
            </p:cNvSpPr>
            <p:nvPr/>
          </p:nvSpPr>
          <p:spPr bwMode="auto">
            <a:xfrm>
              <a:off x="3363" y="2522"/>
              <a:ext cx="74" cy="110"/>
            </a:xfrm>
            <a:custGeom>
              <a:avLst/>
              <a:gdLst>
                <a:gd name="T0" fmla="*/ 15 w 312"/>
                <a:gd name="T1" fmla="*/ 2 h 463"/>
                <a:gd name="T2" fmla="*/ 16 w 312"/>
                <a:gd name="T3" fmla="*/ 3 h 463"/>
                <a:gd name="T4" fmla="*/ 16 w 312"/>
                <a:gd name="T5" fmla="*/ 7 h 463"/>
                <a:gd name="T6" fmla="*/ 18 w 312"/>
                <a:gd name="T7" fmla="*/ 9 h 463"/>
                <a:gd name="T8" fmla="*/ 18 w 312"/>
                <a:gd name="T9" fmla="*/ 10 h 463"/>
                <a:gd name="T10" fmla="*/ 18 w 312"/>
                <a:gd name="T11" fmla="*/ 12 h 463"/>
                <a:gd name="T12" fmla="*/ 16 w 312"/>
                <a:gd name="T13" fmla="*/ 12 h 463"/>
                <a:gd name="T14" fmla="*/ 16 w 312"/>
                <a:gd name="T15" fmla="*/ 13 h 463"/>
                <a:gd name="T16" fmla="*/ 15 w 312"/>
                <a:gd name="T17" fmla="*/ 17 h 463"/>
                <a:gd name="T18" fmla="*/ 14 w 312"/>
                <a:gd name="T19" fmla="*/ 17 h 463"/>
                <a:gd name="T20" fmla="*/ 14 w 312"/>
                <a:gd name="T21" fmla="*/ 18 h 463"/>
                <a:gd name="T22" fmla="*/ 14 w 312"/>
                <a:gd name="T23" fmla="*/ 20 h 463"/>
                <a:gd name="T24" fmla="*/ 14 w 312"/>
                <a:gd name="T25" fmla="*/ 22 h 463"/>
                <a:gd name="T26" fmla="*/ 12 w 312"/>
                <a:gd name="T27" fmla="*/ 23 h 463"/>
                <a:gd name="T28" fmla="*/ 10 w 312"/>
                <a:gd name="T29" fmla="*/ 23 h 463"/>
                <a:gd name="T30" fmla="*/ 9 w 312"/>
                <a:gd name="T31" fmla="*/ 25 h 463"/>
                <a:gd name="T32" fmla="*/ 7 w 312"/>
                <a:gd name="T33" fmla="*/ 26 h 463"/>
                <a:gd name="T34" fmla="*/ 4 w 312"/>
                <a:gd name="T35" fmla="*/ 23 h 463"/>
                <a:gd name="T36" fmla="*/ 6 w 312"/>
                <a:gd name="T37" fmla="*/ 21 h 463"/>
                <a:gd name="T38" fmla="*/ 4 w 312"/>
                <a:gd name="T39" fmla="*/ 21 h 463"/>
                <a:gd name="T40" fmla="*/ 3 w 312"/>
                <a:gd name="T41" fmla="*/ 21 h 463"/>
                <a:gd name="T42" fmla="*/ 3 w 312"/>
                <a:gd name="T43" fmla="*/ 18 h 463"/>
                <a:gd name="T44" fmla="*/ 1 w 312"/>
                <a:gd name="T45" fmla="*/ 16 h 463"/>
                <a:gd name="T46" fmla="*/ 1 w 312"/>
                <a:gd name="T47" fmla="*/ 14 h 463"/>
                <a:gd name="T48" fmla="*/ 1 w 312"/>
                <a:gd name="T49" fmla="*/ 13 h 463"/>
                <a:gd name="T50" fmla="*/ 0 w 312"/>
                <a:gd name="T51" fmla="*/ 11 h 463"/>
                <a:gd name="T52" fmla="*/ 0 w 312"/>
                <a:gd name="T53" fmla="*/ 9 h 463"/>
                <a:gd name="T54" fmla="*/ 2 w 312"/>
                <a:gd name="T55" fmla="*/ 11 h 463"/>
                <a:gd name="T56" fmla="*/ 2 w 312"/>
                <a:gd name="T57" fmla="*/ 9 h 463"/>
                <a:gd name="T58" fmla="*/ 2 w 312"/>
                <a:gd name="T59" fmla="*/ 8 h 463"/>
                <a:gd name="T60" fmla="*/ 4 w 312"/>
                <a:gd name="T61" fmla="*/ 6 h 463"/>
                <a:gd name="T62" fmla="*/ 5 w 312"/>
                <a:gd name="T63" fmla="*/ 6 h 463"/>
                <a:gd name="T64" fmla="*/ 7 w 312"/>
                <a:gd name="T65" fmla="*/ 6 h 463"/>
                <a:gd name="T66" fmla="*/ 10 w 312"/>
                <a:gd name="T67" fmla="*/ 5 h 463"/>
                <a:gd name="T68" fmla="*/ 10 w 312"/>
                <a:gd name="T69" fmla="*/ 1 h 463"/>
                <a:gd name="T70" fmla="*/ 12 w 312"/>
                <a:gd name="T71" fmla="*/ 2 h 463"/>
                <a:gd name="T72" fmla="*/ 13 w 312"/>
                <a:gd name="T73" fmla="*/ 0 h 463"/>
                <a:gd name="T74" fmla="*/ 15 w 312"/>
                <a:gd name="T75" fmla="*/ 2 h 4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2"/>
                <a:gd name="T115" fmla="*/ 0 h 463"/>
                <a:gd name="T116" fmla="*/ 312 w 312"/>
                <a:gd name="T117" fmla="*/ 463 h 4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2" h="463">
                  <a:moveTo>
                    <a:pt x="262" y="31"/>
                  </a:moveTo>
                  <a:lnTo>
                    <a:pt x="288" y="61"/>
                  </a:lnTo>
                  <a:lnTo>
                    <a:pt x="285" y="120"/>
                  </a:lnTo>
                  <a:lnTo>
                    <a:pt x="312" y="150"/>
                  </a:lnTo>
                  <a:lnTo>
                    <a:pt x="311" y="180"/>
                  </a:lnTo>
                  <a:lnTo>
                    <a:pt x="310" y="209"/>
                  </a:lnTo>
                  <a:lnTo>
                    <a:pt x="282" y="207"/>
                  </a:lnTo>
                  <a:lnTo>
                    <a:pt x="279" y="237"/>
                  </a:lnTo>
                  <a:lnTo>
                    <a:pt x="276" y="294"/>
                  </a:lnTo>
                  <a:lnTo>
                    <a:pt x="248" y="293"/>
                  </a:lnTo>
                  <a:lnTo>
                    <a:pt x="247" y="323"/>
                  </a:lnTo>
                  <a:lnTo>
                    <a:pt x="245" y="353"/>
                  </a:lnTo>
                  <a:lnTo>
                    <a:pt x="244" y="381"/>
                  </a:lnTo>
                  <a:lnTo>
                    <a:pt x="214" y="409"/>
                  </a:lnTo>
                  <a:lnTo>
                    <a:pt x="186" y="408"/>
                  </a:lnTo>
                  <a:lnTo>
                    <a:pt x="157" y="436"/>
                  </a:lnTo>
                  <a:lnTo>
                    <a:pt x="127" y="463"/>
                  </a:lnTo>
                  <a:lnTo>
                    <a:pt x="74" y="403"/>
                  </a:lnTo>
                  <a:lnTo>
                    <a:pt x="104" y="375"/>
                  </a:lnTo>
                  <a:lnTo>
                    <a:pt x="76" y="372"/>
                  </a:lnTo>
                  <a:lnTo>
                    <a:pt x="48" y="371"/>
                  </a:lnTo>
                  <a:lnTo>
                    <a:pt x="51" y="313"/>
                  </a:lnTo>
                  <a:lnTo>
                    <a:pt x="24" y="281"/>
                  </a:lnTo>
                  <a:lnTo>
                    <a:pt x="25" y="253"/>
                  </a:lnTo>
                  <a:lnTo>
                    <a:pt x="27" y="224"/>
                  </a:lnTo>
                  <a:lnTo>
                    <a:pt x="0" y="194"/>
                  </a:lnTo>
                  <a:lnTo>
                    <a:pt x="2" y="163"/>
                  </a:lnTo>
                  <a:lnTo>
                    <a:pt x="28" y="194"/>
                  </a:lnTo>
                  <a:lnTo>
                    <a:pt x="30" y="166"/>
                  </a:lnTo>
                  <a:lnTo>
                    <a:pt x="31" y="135"/>
                  </a:lnTo>
                  <a:lnTo>
                    <a:pt x="62" y="107"/>
                  </a:lnTo>
                  <a:lnTo>
                    <a:pt x="90" y="109"/>
                  </a:lnTo>
                  <a:lnTo>
                    <a:pt x="118" y="110"/>
                  </a:lnTo>
                  <a:lnTo>
                    <a:pt x="174" y="84"/>
                  </a:lnTo>
                  <a:lnTo>
                    <a:pt x="178" y="26"/>
                  </a:lnTo>
                  <a:lnTo>
                    <a:pt x="206" y="28"/>
                  </a:lnTo>
                  <a:lnTo>
                    <a:pt x="236" y="0"/>
                  </a:lnTo>
                  <a:lnTo>
                    <a:pt x="262" y="31"/>
                  </a:lnTo>
                  <a:close/>
                </a:path>
              </a:pathLst>
            </a:custGeom>
            <a:solidFill>
              <a:srgbClr val="B2C2D1"/>
            </a:solidFill>
            <a:ln w="9525">
              <a:noFill/>
              <a:round/>
              <a:headEnd/>
              <a:tailEnd/>
            </a:ln>
          </p:spPr>
          <p:txBody>
            <a:bodyPr/>
            <a:lstStyle/>
            <a:p>
              <a:endParaRPr lang="el-GR"/>
            </a:p>
          </p:txBody>
        </p:sp>
        <p:sp>
          <p:nvSpPr>
            <p:cNvPr id="295" name="Freeform 172"/>
            <p:cNvSpPr>
              <a:spLocks/>
            </p:cNvSpPr>
            <p:nvPr/>
          </p:nvSpPr>
          <p:spPr bwMode="auto">
            <a:xfrm>
              <a:off x="3363" y="2522"/>
              <a:ext cx="74" cy="110"/>
            </a:xfrm>
            <a:custGeom>
              <a:avLst/>
              <a:gdLst>
                <a:gd name="T0" fmla="*/ 15 w 312"/>
                <a:gd name="T1" fmla="*/ 2 h 463"/>
                <a:gd name="T2" fmla="*/ 16 w 312"/>
                <a:gd name="T3" fmla="*/ 3 h 463"/>
                <a:gd name="T4" fmla="*/ 16 w 312"/>
                <a:gd name="T5" fmla="*/ 7 h 463"/>
                <a:gd name="T6" fmla="*/ 18 w 312"/>
                <a:gd name="T7" fmla="*/ 9 h 463"/>
                <a:gd name="T8" fmla="*/ 18 w 312"/>
                <a:gd name="T9" fmla="*/ 10 h 463"/>
                <a:gd name="T10" fmla="*/ 18 w 312"/>
                <a:gd name="T11" fmla="*/ 12 h 463"/>
                <a:gd name="T12" fmla="*/ 16 w 312"/>
                <a:gd name="T13" fmla="*/ 12 h 463"/>
                <a:gd name="T14" fmla="*/ 16 w 312"/>
                <a:gd name="T15" fmla="*/ 13 h 463"/>
                <a:gd name="T16" fmla="*/ 15 w 312"/>
                <a:gd name="T17" fmla="*/ 17 h 463"/>
                <a:gd name="T18" fmla="*/ 14 w 312"/>
                <a:gd name="T19" fmla="*/ 17 h 463"/>
                <a:gd name="T20" fmla="*/ 14 w 312"/>
                <a:gd name="T21" fmla="*/ 18 h 463"/>
                <a:gd name="T22" fmla="*/ 14 w 312"/>
                <a:gd name="T23" fmla="*/ 20 h 463"/>
                <a:gd name="T24" fmla="*/ 14 w 312"/>
                <a:gd name="T25" fmla="*/ 22 h 463"/>
                <a:gd name="T26" fmla="*/ 12 w 312"/>
                <a:gd name="T27" fmla="*/ 23 h 463"/>
                <a:gd name="T28" fmla="*/ 10 w 312"/>
                <a:gd name="T29" fmla="*/ 23 h 463"/>
                <a:gd name="T30" fmla="*/ 9 w 312"/>
                <a:gd name="T31" fmla="*/ 25 h 463"/>
                <a:gd name="T32" fmla="*/ 7 w 312"/>
                <a:gd name="T33" fmla="*/ 26 h 463"/>
                <a:gd name="T34" fmla="*/ 4 w 312"/>
                <a:gd name="T35" fmla="*/ 23 h 463"/>
                <a:gd name="T36" fmla="*/ 6 w 312"/>
                <a:gd name="T37" fmla="*/ 21 h 463"/>
                <a:gd name="T38" fmla="*/ 4 w 312"/>
                <a:gd name="T39" fmla="*/ 21 h 463"/>
                <a:gd name="T40" fmla="*/ 3 w 312"/>
                <a:gd name="T41" fmla="*/ 21 h 463"/>
                <a:gd name="T42" fmla="*/ 3 w 312"/>
                <a:gd name="T43" fmla="*/ 18 h 463"/>
                <a:gd name="T44" fmla="*/ 1 w 312"/>
                <a:gd name="T45" fmla="*/ 16 h 463"/>
                <a:gd name="T46" fmla="*/ 1 w 312"/>
                <a:gd name="T47" fmla="*/ 14 h 463"/>
                <a:gd name="T48" fmla="*/ 1 w 312"/>
                <a:gd name="T49" fmla="*/ 13 h 463"/>
                <a:gd name="T50" fmla="*/ 0 w 312"/>
                <a:gd name="T51" fmla="*/ 11 h 463"/>
                <a:gd name="T52" fmla="*/ 0 w 312"/>
                <a:gd name="T53" fmla="*/ 9 h 463"/>
                <a:gd name="T54" fmla="*/ 2 w 312"/>
                <a:gd name="T55" fmla="*/ 11 h 463"/>
                <a:gd name="T56" fmla="*/ 2 w 312"/>
                <a:gd name="T57" fmla="*/ 9 h 463"/>
                <a:gd name="T58" fmla="*/ 2 w 312"/>
                <a:gd name="T59" fmla="*/ 8 h 463"/>
                <a:gd name="T60" fmla="*/ 4 w 312"/>
                <a:gd name="T61" fmla="*/ 6 h 463"/>
                <a:gd name="T62" fmla="*/ 5 w 312"/>
                <a:gd name="T63" fmla="*/ 6 h 463"/>
                <a:gd name="T64" fmla="*/ 7 w 312"/>
                <a:gd name="T65" fmla="*/ 6 h 463"/>
                <a:gd name="T66" fmla="*/ 10 w 312"/>
                <a:gd name="T67" fmla="*/ 5 h 463"/>
                <a:gd name="T68" fmla="*/ 10 w 312"/>
                <a:gd name="T69" fmla="*/ 1 h 463"/>
                <a:gd name="T70" fmla="*/ 12 w 312"/>
                <a:gd name="T71" fmla="*/ 2 h 463"/>
                <a:gd name="T72" fmla="*/ 13 w 312"/>
                <a:gd name="T73" fmla="*/ 0 h 463"/>
                <a:gd name="T74" fmla="*/ 15 w 312"/>
                <a:gd name="T75" fmla="*/ 2 h 46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2"/>
                <a:gd name="T115" fmla="*/ 0 h 463"/>
                <a:gd name="T116" fmla="*/ 312 w 312"/>
                <a:gd name="T117" fmla="*/ 463 h 46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2" h="463">
                  <a:moveTo>
                    <a:pt x="262" y="31"/>
                  </a:moveTo>
                  <a:lnTo>
                    <a:pt x="288" y="61"/>
                  </a:lnTo>
                  <a:lnTo>
                    <a:pt x="285" y="120"/>
                  </a:lnTo>
                  <a:lnTo>
                    <a:pt x="312" y="150"/>
                  </a:lnTo>
                  <a:lnTo>
                    <a:pt x="311" y="180"/>
                  </a:lnTo>
                  <a:lnTo>
                    <a:pt x="310" y="209"/>
                  </a:lnTo>
                  <a:lnTo>
                    <a:pt x="282" y="207"/>
                  </a:lnTo>
                  <a:lnTo>
                    <a:pt x="279" y="237"/>
                  </a:lnTo>
                  <a:lnTo>
                    <a:pt x="276" y="294"/>
                  </a:lnTo>
                  <a:lnTo>
                    <a:pt x="248" y="293"/>
                  </a:lnTo>
                  <a:lnTo>
                    <a:pt x="247" y="323"/>
                  </a:lnTo>
                  <a:lnTo>
                    <a:pt x="245" y="353"/>
                  </a:lnTo>
                  <a:lnTo>
                    <a:pt x="244" y="381"/>
                  </a:lnTo>
                  <a:lnTo>
                    <a:pt x="214" y="409"/>
                  </a:lnTo>
                  <a:lnTo>
                    <a:pt x="186" y="408"/>
                  </a:lnTo>
                  <a:lnTo>
                    <a:pt x="157" y="436"/>
                  </a:lnTo>
                  <a:lnTo>
                    <a:pt x="127" y="463"/>
                  </a:lnTo>
                  <a:lnTo>
                    <a:pt x="74" y="403"/>
                  </a:lnTo>
                  <a:lnTo>
                    <a:pt x="104" y="375"/>
                  </a:lnTo>
                  <a:lnTo>
                    <a:pt x="76" y="372"/>
                  </a:lnTo>
                  <a:lnTo>
                    <a:pt x="48" y="371"/>
                  </a:lnTo>
                  <a:lnTo>
                    <a:pt x="51" y="313"/>
                  </a:lnTo>
                  <a:lnTo>
                    <a:pt x="24" y="281"/>
                  </a:lnTo>
                  <a:lnTo>
                    <a:pt x="25" y="253"/>
                  </a:lnTo>
                  <a:lnTo>
                    <a:pt x="27" y="224"/>
                  </a:lnTo>
                  <a:lnTo>
                    <a:pt x="0" y="194"/>
                  </a:lnTo>
                  <a:lnTo>
                    <a:pt x="2" y="163"/>
                  </a:lnTo>
                  <a:lnTo>
                    <a:pt x="28" y="194"/>
                  </a:lnTo>
                  <a:lnTo>
                    <a:pt x="30" y="166"/>
                  </a:lnTo>
                  <a:lnTo>
                    <a:pt x="31" y="135"/>
                  </a:lnTo>
                  <a:lnTo>
                    <a:pt x="62" y="107"/>
                  </a:lnTo>
                  <a:lnTo>
                    <a:pt x="90" y="109"/>
                  </a:lnTo>
                  <a:lnTo>
                    <a:pt x="118" y="110"/>
                  </a:lnTo>
                  <a:lnTo>
                    <a:pt x="174" y="84"/>
                  </a:lnTo>
                  <a:lnTo>
                    <a:pt x="178" y="26"/>
                  </a:lnTo>
                  <a:lnTo>
                    <a:pt x="206" y="28"/>
                  </a:lnTo>
                  <a:lnTo>
                    <a:pt x="236" y="0"/>
                  </a:lnTo>
                  <a:lnTo>
                    <a:pt x="262" y="31"/>
                  </a:lnTo>
                </a:path>
              </a:pathLst>
            </a:custGeom>
            <a:solidFill>
              <a:srgbClr val="B2C2D1"/>
            </a:solidFill>
            <a:ln w="9525">
              <a:noFill/>
              <a:round/>
              <a:headEnd/>
              <a:tailEnd/>
            </a:ln>
          </p:spPr>
          <p:txBody>
            <a:bodyPr/>
            <a:lstStyle/>
            <a:p>
              <a:endParaRPr lang="el-GR"/>
            </a:p>
          </p:txBody>
        </p:sp>
        <p:sp>
          <p:nvSpPr>
            <p:cNvPr id="296" name="Freeform 173"/>
            <p:cNvSpPr>
              <a:spLocks/>
            </p:cNvSpPr>
            <p:nvPr/>
          </p:nvSpPr>
          <p:spPr bwMode="auto">
            <a:xfrm>
              <a:off x="2891" y="1733"/>
              <a:ext cx="51" cy="51"/>
            </a:xfrm>
            <a:custGeom>
              <a:avLst/>
              <a:gdLst>
                <a:gd name="T0" fmla="*/ 2 w 216"/>
                <a:gd name="T1" fmla="*/ 0 h 212"/>
                <a:gd name="T2" fmla="*/ 2 w 216"/>
                <a:gd name="T3" fmla="*/ 0 h 212"/>
                <a:gd name="T4" fmla="*/ 4 w 216"/>
                <a:gd name="T5" fmla="*/ 4 h 212"/>
                <a:gd name="T6" fmla="*/ 6 w 216"/>
                <a:gd name="T7" fmla="*/ 4 h 212"/>
                <a:gd name="T8" fmla="*/ 9 w 216"/>
                <a:gd name="T9" fmla="*/ 7 h 212"/>
                <a:gd name="T10" fmla="*/ 10 w 216"/>
                <a:gd name="T11" fmla="*/ 7 h 212"/>
                <a:gd name="T12" fmla="*/ 12 w 216"/>
                <a:gd name="T13" fmla="*/ 7 h 212"/>
                <a:gd name="T14" fmla="*/ 12 w 216"/>
                <a:gd name="T15" fmla="*/ 11 h 212"/>
                <a:gd name="T16" fmla="*/ 9 w 216"/>
                <a:gd name="T17" fmla="*/ 12 h 212"/>
                <a:gd name="T18" fmla="*/ 7 w 216"/>
                <a:gd name="T19" fmla="*/ 12 h 212"/>
                <a:gd name="T20" fmla="*/ 4 w 216"/>
                <a:gd name="T21" fmla="*/ 12 h 212"/>
                <a:gd name="T22" fmla="*/ 4 w 216"/>
                <a:gd name="T23" fmla="*/ 10 h 212"/>
                <a:gd name="T24" fmla="*/ 6 w 216"/>
                <a:gd name="T25" fmla="*/ 9 h 212"/>
                <a:gd name="T26" fmla="*/ 3 w 216"/>
                <a:gd name="T27" fmla="*/ 9 h 212"/>
                <a:gd name="T28" fmla="*/ 3 w 216"/>
                <a:gd name="T29" fmla="*/ 7 h 212"/>
                <a:gd name="T30" fmla="*/ 1 w 216"/>
                <a:gd name="T31" fmla="*/ 5 h 212"/>
                <a:gd name="T32" fmla="*/ 0 w 216"/>
                <a:gd name="T33" fmla="*/ 0 h 212"/>
                <a:gd name="T34" fmla="*/ 2 w 216"/>
                <a:gd name="T35" fmla="*/ 0 h 2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
                <a:gd name="T55" fmla="*/ 0 h 212"/>
                <a:gd name="T56" fmla="*/ 216 w 216"/>
                <a:gd name="T57" fmla="*/ 212 h 2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 h="212">
                  <a:moveTo>
                    <a:pt x="29" y="2"/>
                  </a:moveTo>
                  <a:lnTo>
                    <a:pt x="29" y="2"/>
                  </a:lnTo>
                  <a:lnTo>
                    <a:pt x="80" y="63"/>
                  </a:lnTo>
                  <a:lnTo>
                    <a:pt x="108" y="64"/>
                  </a:lnTo>
                  <a:lnTo>
                    <a:pt x="161" y="125"/>
                  </a:lnTo>
                  <a:lnTo>
                    <a:pt x="188" y="125"/>
                  </a:lnTo>
                  <a:lnTo>
                    <a:pt x="216" y="128"/>
                  </a:lnTo>
                  <a:lnTo>
                    <a:pt x="213" y="186"/>
                  </a:lnTo>
                  <a:lnTo>
                    <a:pt x="155" y="212"/>
                  </a:lnTo>
                  <a:lnTo>
                    <a:pt x="128" y="210"/>
                  </a:lnTo>
                  <a:lnTo>
                    <a:pt x="73" y="208"/>
                  </a:lnTo>
                  <a:lnTo>
                    <a:pt x="74" y="179"/>
                  </a:lnTo>
                  <a:lnTo>
                    <a:pt x="103" y="150"/>
                  </a:lnTo>
                  <a:lnTo>
                    <a:pt x="48" y="148"/>
                  </a:lnTo>
                  <a:lnTo>
                    <a:pt x="50" y="119"/>
                  </a:lnTo>
                  <a:lnTo>
                    <a:pt x="23" y="89"/>
                  </a:lnTo>
                  <a:lnTo>
                    <a:pt x="0" y="0"/>
                  </a:lnTo>
                  <a:lnTo>
                    <a:pt x="29" y="2"/>
                  </a:lnTo>
                  <a:close/>
                </a:path>
              </a:pathLst>
            </a:custGeom>
            <a:solidFill>
              <a:srgbClr val="B2C2D1"/>
            </a:solidFill>
            <a:ln w="9525">
              <a:noFill/>
              <a:round/>
              <a:headEnd/>
              <a:tailEnd/>
            </a:ln>
          </p:spPr>
          <p:txBody>
            <a:bodyPr/>
            <a:lstStyle/>
            <a:p>
              <a:endParaRPr lang="el-GR"/>
            </a:p>
          </p:txBody>
        </p:sp>
        <p:sp>
          <p:nvSpPr>
            <p:cNvPr id="297" name="Freeform 174"/>
            <p:cNvSpPr>
              <a:spLocks/>
            </p:cNvSpPr>
            <p:nvPr/>
          </p:nvSpPr>
          <p:spPr bwMode="auto">
            <a:xfrm>
              <a:off x="2891" y="1733"/>
              <a:ext cx="51" cy="51"/>
            </a:xfrm>
            <a:custGeom>
              <a:avLst/>
              <a:gdLst>
                <a:gd name="T0" fmla="*/ 2 w 216"/>
                <a:gd name="T1" fmla="*/ 0 h 212"/>
                <a:gd name="T2" fmla="*/ 2 w 216"/>
                <a:gd name="T3" fmla="*/ 0 h 212"/>
                <a:gd name="T4" fmla="*/ 4 w 216"/>
                <a:gd name="T5" fmla="*/ 4 h 212"/>
                <a:gd name="T6" fmla="*/ 6 w 216"/>
                <a:gd name="T7" fmla="*/ 4 h 212"/>
                <a:gd name="T8" fmla="*/ 9 w 216"/>
                <a:gd name="T9" fmla="*/ 7 h 212"/>
                <a:gd name="T10" fmla="*/ 10 w 216"/>
                <a:gd name="T11" fmla="*/ 7 h 212"/>
                <a:gd name="T12" fmla="*/ 12 w 216"/>
                <a:gd name="T13" fmla="*/ 7 h 212"/>
                <a:gd name="T14" fmla="*/ 12 w 216"/>
                <a:gd name="T15" fmla="*/ 11 h 212"/>
                <a:gd name="T16" fmla="*/ 9 w 216"/>
                <a:gd name="T17" fmla="*/ 12 h 212"/>
                <a:gd name="T18" fmla="*/ 7 w 216"/>
                <a:gd name="T19" fmla="*/ 12 h 212"/>
                <a:gd name="T20" fmla="*/ 4 w 216"/>
                <a:gd name="T21" fmla="*/ 12 h 212"/>
                <a:gd name="T22" fmla="*/ 4 w 216"/>
                <a:gd name="T23" fmla="*/ 10 h 212"/>
                <a:gd name="T24" fmla="*/ 6 w 216"/>
                <a:gd name="T25" fmla="*/ 9 h 212"/>
                <a:gd name="T26" fmla="*/ 3 w 216"/>
                <a:gd name="T27" fmla="*/ 9 h 212"/>
                <a:gd name="T28" fmla="*/ 3 w 216"/>
                <a:gd name="T29" fmla="*/ 7 h 212"/>
                <a:gd name="T30" fmla="*/ 1 w 216"/>
                <a:gd name="T31" fmla="*/ 5 h 212"/>
                <a:gd name="T32" fmla="*/ 0 w 216"/>
                <a:gd name="T33" fmla="*/ 0 h 212"/>
                <a:gd name="T34" fmla="*/ 2 w 216"/>
                <a:gd name="T35" fmla="*/ 0 h 21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16"/>
                <a:gd name="T55" fmla="*/ 0 h 212"/>
                <a:gd name="T56" fmla="*/ 216 w 216"/>
                <a:gd name="T57" fmla="*/ 212 h 21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16" h="212">
                  <a:moveTo>
                    <a:pt x="29" y="2"/>
                  </a:moveTo>
                  <a:lnTo>
                    <a:pt x="29" y="2"/>
                  </a:lnTo>
                  <a:lnTo>
                    <a:pt x="80" y="63"/>
                  </a:lnTo>
                  <a:lnTo>
                    <a:pt x="108" y="64"/>
                  </a:lnTo>
                  <a:lnTo>
                    <a:pt x="161" y="125"/>
                  </a:lnTo>
                  <a:lnTo>
                    <a:pt x="188" y="125"/>
                  </a:lnTo>
                  <a:lnTo>
                    <a:pt x="216" y="128"/>
                  </a:lnTo>
                  <a:lnTo>
                    <a:pt x="213" y="186"/>
                  </a:lnTo>
                  <a:lnTo>
                    <a:pt x="155" y="212"/>
                  </a:lnTo>
                  <a:lnTo>
                    <a:pt x="128" y="210"/>
                  </a:lnTo>
                  <a:lnTo>
                    <a:pt x="73" y="208"/>
                  </a:lnTo>
                  <a:lnTo>
                    <a:pt x="74" y="179"/>
                  </a:lnTo>
                  <a:lnTo>
                    <a:pt x="103" y="150"/>
                  </a:lnTo>
                  <a:lnTo>
                    <a:pt x="48" y="148"/>
                  </a:lnTo>
                  <a:lnTo>
                    <a:pt x="50" y="119"/>
                  </a:lnTo>
                  <a:lnTo>
                    <a:pt x="23" y="89"/>
                  </a:lnTo>
                  <a:lnTo>
                    <a:pt x="0" y="0"/>
                  </a:lnTo>
                  <a:lnTo>
                    <a:pt x="29" y="2"/>
                  </a:lnTo>
                </a:path>
              </a:pathLst>
            </a:custGeom>
            <a:solidFill>
              <a:srgbClr val="B2C2D1"/>
            </a:solidFill>
            <a:ln w="9525">
              <a:noFill/>
              <a:round/>
              <a:headEnd/>
              <a:tailEnd/>
            </a:ln>
          </p:spPr>
          <p:txBody>
            <a:bodyPr/>
            <a:lstStyle/>
            <a:p>
              <a:endParaRPr lang="el-GR"/>
            </a:p>
          </p:txBody>
        </p:sp>
        <p:sp>
          <p:nvSpPr>
            <p:cNvPr id="298" name="Freeform 175"/>
            <p:cNvSpPr>
              <a:spLocks/>
            </p:cNvSpPr>
            <p:nvPr/>
          </p:nvSpPr>
          <p:spPr bwMode="auto">
            <a:xfrm>
              <a:off x="2957" y="1711"/>
              <a:ext cx="48" cy="54"/>
            </a:xfrm>
            <a:custGeom>
              <a:avLst/>
              <a:gdLst>
                <a:gd name="T0" fmla="*/ 3 w 205"/>
                <a:gd name="T1" fmla="*/ 6 h 226"/>
                <a:gd name="T2" fmla="*/ 5 w 205"/>
                <a:gd name="T3" fmla="*/ 5 h 226"/>
                <a:gd name="T4" fmla="*/ 7 w 205"/>
                <a:gd name="T5" fmla="*/ 1 h 226"/>
                <a:gd name="T6" fmla="*/ 8 w 205"/>
                <a:gd name="T7" fmla="*/ 0 h 226"/>
                <a:gd name="T8" fmla="*/ 8 w 205"/>
                <a:gd name="T9" fmla="*/ 2 h 226"/>
                <a:gd name="T10" fmla="*/ 11 w 205"/>
                <a:gd name="T11" fmla="*/ 2 h 226"/>
                <a:gd name="T12" fmla="*/ 6 w 205"/>
                <a:gd name="T13" fmla="*/ 6 h 226"/>
                <a:gd name="T14" fmla="*/ 6 w 205"/>
                <a:gd name="T15" fmla="*/ 10 h 226"/>
                <a:gd name="T16" fmla="*/ 5 w 205"/>
                <a:gd name="T17" fmla="*/ 10 h 226"/>
                <a:gd name="T18" fmla="*/ 3 w 205"/>
                <a:gd name="T19" fmla="*/ 11 h 226"/>
                <a:gd name="T20" fmla="*/ 1 w 205"/>
                <a:gd name="T21" fmla="*/ 13 h 226"/>
                <a:gd name="T22" fmla="*/ 0 w 205"/>
                <a:gd name="T23" fmla="*/ 11 h 226"/>
                <a:gd name="T24" fmla="*/ 3 w 205"/>
                <a:gd name="T25" fmla="*/ 10 h 226"/>
                <a:gd name="T26" fmla="*/ 3 w 205"/>
                <a:gd name="T27" fmla="*/ 6 h 2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5"/>
                <a:gd name="T43" fmla="*/ 0 h 226"/>
                <a:gd name="T44" fmla="*/ 205 w 205"/>
                <a:gd name="T45" fmla="*/ 226 h 2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5" h="226">
                  <a:moveTo>
                    <a:pt x="60" y="111"/>
                  </a:moveTo>
                  <a:lnTo>
                    <a:pt x="90" y="84"/>
                  </a:lnTo>
                  <a:lnTo>
                    <a:pt x="121" y="27"/>
                  </a:lnTo>
                  <a:lnTo>
                    <a:pt x="150" y="0"/>
                  </a:lnTo>
                  <a:lnTo>
                    <a:pt x="149" y="29"/>
                  </a:lnTo>
                  <a:lnTo>
                    <a:pt x="205" y="31"/>
                  </a:lnTo>
                  <a:lnTo>
                    <a:pt x="117" y="114"/>
                  </a:lnTo>
                  <a:lnTo>
                    <a:pt x="113" y="172"/>
                  </a:lnTo>
                  <a:lnTo>
                    <a:pt x="85" y="171"/>
                  </a:lnTo>
                  <a:lnTo>
                    <a:pt x="56" y="198"/>
                  </a:lnTo>
                  <a:lnTo>
                    <a:pt x="27" y="226"/>
                  </a:lnTo>
                  <a:lnTo>
                    <a:pt x="0" y="196"/>
                  </a:lnTo>
                  <a:lnTo>
                    <a:pt x="57" y="170"/>
                  </a:lnTo>
                  <a:lnTo>
                    <a:pt x="60" y="111"/>
                  </a:lnTo>
                  <a:close/>
                </a:path>
              </a:pathLst>
            </a:custGeom>
            <a:solidFill>
              <a:srgbClr val="B2C2D1"/>
            </a:solidFill>
            <a:ln w="9525">
              <a:noFill/>
              <a:round/>
              <a:headEnd/>
              <a:tailEnd/>
            </a:ln>
          </p:spPr>
          <p:txBody>
            <a:bodyPr/>
            <a:lstStyle/>
            <a:p>
              <a:endParaRPr lang="el-GR"/>
            </a:p>
          </p:txBody>
        </p:sp>
        <p:sp>
          <p:nvSpPr>
            <p:cNvPr id="299" name="Freeform 176"/>
            <p:cNvSpPr>
              <a:spLocks/>
            </p:cNvSpPr>
            <p:nvPr/>
          </p:nvSpPr>
          <p:spPr bwMode="auto">
            <a:xfrm>
              <a:off x="2957" y="1711"/>
              <a:ext cx="48" cy="54"/>
            </a:xfrm>
            <a:custGeom>
              <a:avLst/>
              <a:gdLst>
                <a:gd name="T0" fmla="*/ 3 w 205"/>
                <a:gd name="T1" fmla="*/ 6 h 226"/>
                <a:gd name="T2" fmla="*/ 5 w 205"/>
                <a:gd name="T3" fmla="*/ 5 h 226"/>
                <a:gd name="T4" fmla="*/ 7 w 205"/>
                <a:gd name="T5" fmla="*/ 1 h 226"/>
                <a:gd name="T6" fmla="*/ 8 w 205"/>
                <a:gd name="T7" fmla="*/ 0 h 226"/>
                <a:gd name="T8" fmla="*/ 8 w 205"/>
                <a:gd name="T9" fmla="*/ 2 h 226"/>
                <a:gd name="T10" fmla="*/ 11 w 205"/>
                <a:gd name="T11" fmla="*/ 2 h 226"/>
                <a:gd name="T12" fmla="*/ 6 w 205"/>
                <a:gd name="T13" fmla="*/ 6 h 226"/>
                <a:gd name="T14" fmla="*/ 6 w 205"/>
                <a:gd name="T15" fmla="*/ 10 h 226"/>
                <a:gd name="T16" fmla="*/ 5 w 205"/>
                <a:gd name="T17" fmla="*/ 10 h 226"/>
                <a:gd name="T18" fmla="*/ 3 w 205"/>
                <a:gd name="T19" fmla="*/ 11 h 226"/>
                <a:gd name="T20" fmla="*/ 1 w 205"/>
                <a:gd name="T21" fmla="*/ 13 h 226"/>
                <a:gd name="T22" fmla="*/ 0 w 205"/>
                <a:gd name="T23" fmla="*/ 11 h 226"/>
                <a:gd name="T24" fmla="*/ 3 w 205"/>
                <a:gd name="T25" fmla="*/ 10 h 226"/>
                <a:gd name="T26" fmla="*/ 3 w 205"/>
                <a:gd name="T27" fmla="*/ 6 h 22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5"/>
                <a:gd name="T43" fmla="*/ 0 h 226"/>
                <a:gd name="T44" fmla="*/ 205 w 205"/>
                <a:gd name="T45" fmla="*/ 226 h 22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5" h="226">
                  <a:moveTo>
                    <a:pt x="60" y="111"/>
                  </a:moveTo>
                  <a:lnTo>
                    <a:pt x="90" y="84"/>
                  </a:lnTo>
                  <a:lnTo>
                    <a:pt x="121" y="27"/>
                  </a:lnTo>
                  <a:lnTo>
                    <a:pt x="150" y="0"/>
                  </a:lnTo>
                  <a:lnTo>
                    <a:pt x="149" y="29"/>
                  </a:lnTo>
                  <a:lnTo>
                    <a:pt x="205" y="31"/>
                  </a:lnTo>
                  <a:lnTo>
                    <a:pt x="117" y="114"/>
                  </a:lnTo>
                  <a:lnTo>
                    <a:pt x="113" y="172"/>
                  </a:lnTo>
                  <a:lnTo>
                    <a:pt x="85" y="171"/>
                  </a:lnTo>
                  <a:lnTo>
                    <a:pt x="56" y="198"/>
                  </a:lnTo>
                  <a:lnTo>
                    <a:pt x="27" y="226"/>
                  </a:lnTo>
                  <a:lnTo>
                    <a:pt x="0" y="196"/>
                  </a:lnTo>
                  <a:lnTo>
                    <a:pt x="57" y="170"/>
                  </a:lnTo>
                  <a:lnTo>
                    <a:pt x="60" y="111"/>
                  </a:lnTo>
                </a:path>
              </a:pathLst>
            </a:custGeom>
            <a:solidFill>
              <a:srgbClr val="B2C2D1"/>
            </a:solidFill>
            <a:ln w="9525">
              <a:noFill/>
              <a:round/>
              <a:headEnd/>
              <a:tailEnd/>
            </a:ln>
          </p:spPr>
          <p:txBody>
            <a:bodyPr/>
            <a:lstStyle/>
            <a:p>
              <a:endParaRPr lang="el-GR"/>
            </a:p>
          </p:txBody>
        </p:sp>
        <p:sp>
          <p:nvSpPr>
            <p:cNvPr id="300" name="Freeform 177"/>
            <p:cNvSpPr>
              <a:spLocks/>
            </p:cNvSpPr>
            <p:nvPr/>
          </p:nvSpPr>
          <p:spPr bwMode="auto">
            <a:xfrm>
              <a:off x="2829" y="1731"/>
              <a:ext cx="35" cy="35"/>
            </a:xfrm>
            <a:custGeom>
              <a:avLst/>
              <a:gdLst>
                <a:gd name="T0" fmla="*/ 3 w 145"/>
                <a:gd name="T1" fmla="*/ 7 h 145"/>
                <a:gd name="T2" fmla="*/ 5 w 145"/>
                <a:gd name="T3" fmla="*/ 8 h 145"/>
                <a:gd name="T4" fmla="*/ 5 w 145"/>
                <a:gd name="T5" fmla="*/ 5 h 145"/>
                <a:gd name="T6" fmla="*/ 7 w 145"/>
                <a:gd name="T7" fmla="*/ 5 h 145"/>
                <a:gd name="T8" fmla="*/ 8 w 145"/>
                <a:gd name="T9" fmla="*/ 5 h 145"/>
                <a:gd name="T10" fmla="*/ 8 w 145"/>
                <a:gd name="T11" fmla="*/ 4 h 145"/>
                <a:gd name="T12" fmla="*/ 8 w 145"/>
                <a:gd name="T13" fmla="*/ 2 h 145"/>
                <a:gd name="T14" fmla="*/ 7 w 145"/>
                <a:gd name="T15" fmla="*/ 2 h 145"/>
                <a:gd name="T16" fmla="*/ 5 w 145"/>
                <a:gd name="T17" fmla="*/ 0 h 145"/>
                <a:gd name="T18" fmla="*/ 3 w 145"/>
                <a:gd name="T19" fmla="*/ 2 h 145"/>
                <a:gd name="T20" fmla="*/ 3 w 145"/>
                <a:gd name="T21" fmla="*/ 3 h 145"/>
                <a:gd name="T22" fmla="*/ 0 w 145"/>
                <a:gd name="T23" fmla="*/ 5 h 145"/>
                <a:gd name="T24" fmla="*/ 2 w 145"/>
                <a:gd name="T25" fmla="*/ 5 h 145"/>
                <a:gd name="T26" fmla="*/ 2 w 145"/>
                <a:gd name="T27" fmla="*/ 7 h 145"/>
                <a:gd name="T28" fmla="*/ 3 w 145"/>
                <a:gd name="T29" fmla="*/ 7 h 1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5"/>
                <a:gd name="T46" fmla="*/ 0 h 145"/>
                <a:gd name="T47" fmla="*/ 145 w 145"/>
                <a:gd name="T48" fmla="*/ 145 h 1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5" h="145">
                  <a:moveTo>
                    <a:pt x="55" y="115"/>
                  </a:moveTo>
                  <a:lnTo>
                    <a:pt x="82" y="145"/>
                  </a:lnTo>
                  <a:lnTo>
                    <a:pt x="84" y="87"/>
                  </a:lnTo>
                  <a:lnTo>
                    <a:pt x="112" y="89"/>
                  </a:lnTo>
                  <a:lnTo>
                    <a:pt x="142" y="90"/>
                  </a:lnTo>
                  <a:lnTo>
                    <a:pt x="143" y="61"/>
                  </a:lnTo>
                  <a:lnTo>
                    <a:pt x="145" y="32"/>
                  </a:lnTo>
                  <a:lnTo>
                    <a:pt x="117" y="30"/>
                  </a:lnTo>
                  <a:lnTo>
                    <a:pt x="90" y="0"/>
                  </a:lnTo>
                  <a:lnTo>
                    <a:pt x="59" y="27"/>
                  </a:lnTo>
                  <a:lnTo>
                    <a:pt x="57" y="56"/>
                  </a:lnTo>
                  <a:lnTo>
                    <a:pt x="0" y="82"/>
                  </a:lnTo>
                  <a:lnTo>
                    <a:pt x="28" y="85"/>
                  </a:lnTo>
                  <a:lnTo>
                    <a:pt x="27" y="113"/>
                  </a:lnTo>
                  <a:lnTo>
                    <a:pt x="55" y="115"/>
                  </a:lnTo>
                  <a:close/>
                </a:path>
              </a:pathLst>
            </a:custGeom>
            <a:solidFill>
              <a:srgbClr val="B2C2D1"/>
            </a:solidFill>
            <a:ln w="9525">
              <a:noFill/>
              <a:round/>
              <a:headEnd/>
              <a:tailEnd/>
            </a:ln>
          </p:spPr>
          <p:txBody>
            <a:bodyPr/>
            <a:lstStyle/>
            <a:p>
              <a:endParaRPr lang="el-GR"/>
            </a:p>
          </p:txBody>
        </p:sp>
        <p:sp>
          <p:nvSpPr>
            <p:cNvPr id="301" name="Freeform 178"/>
            <p:cNvSpPr>
              <a:spLocks/>
            </p:cNvSpPr>
            <p:nvPr/>
          </p:nvSpPr>
          <p:spPr bwMode="auto">
            <a:xfrm>
              <a:off x="2829" y="1731"/>
              <a:ext cx="35" cy="35"/>
            </a:xfrm>
            <a:custGeom>
              <a:avLst/>
              <a:gdLst>
                <a:gd name="T0" fmla="*/ 3 w 145"/>
                <a:gd name="T1" fmla="*/ 7 h 145"/>
                <a:gd name="T2" fmla="*/ 5 w 145"/>
                <a:gd name="T3" fmla="*/ 8 h 145"/>
                <a:gd name="T4" fmla="*/ 5 w 145"/>
                <a:gd name="T5" fmla="*/ 5 h 145"/>
                <a:gd name="T6" fmla="*/ 7 w 145"/>
                <a:gd name="T7" fmla="*/ 5 h 145"/>
                <a:gd name="T8" fmla="*/ 8 w 145"/>
                <a:gd name="T9" fmla="*/ 5 h 145"/>
                <a:gd name="T10" fmla="*/ 8 w 145"/>
                <a:gd name="T11" fmla="*/ 4 h 145"/>
                <a:gd name="T12" fmla="*/ 8 w 145"/>
                <a:gd name="T13" fmla="*/ 2 h 145"/>
                <a:gd name="T14" fmla="*/ 7 w 145"/>
                <a:gd name="T15" fmla="*/ 2 h 145"/>
                <a:gd name="T16" fmla="*/ 5 w 145"/>
                <a:gd name="T17" fmla="*/ 0 h 145"/>
                <a:gd name="T18" fmla="*/ 3 w 145"/>
                <a:gd name="T19" fmla="*/ 2 h 145"/>
                <a:gd name="T20" fmla="*/ 3 w 145"/>
                <a:gd name="T21" fmla="*/ 3 h 145"/>
                <a:gd name="T22" fmla="*/ 0 w 145"/>
                <a:gd name="T23" fmla="*/ 5 h 145"/>
                <a:gd name="T24" fmla="*/ 2 w 145"/>
                <a:gd name="T25" fmla="*/ 5 h 145"/>
                <a:gd name="T26" fmla="*/ 2 w 145"/>
                <a:gd name="T27" fmla="*/ 7 h 145"/>
                <a:gd name="T28" fmla="*/ 3 w 145"/>
                <a:gd name="T29" fmla="*/ 7 h 1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5"/>
                <a:gd name="T46" fmla="*/ 0 h 145"/>
                <a:gd name="T47" fmla="*/ 145 w 145"/>
                <a:gd name="T48" fmla="*/ 145 h 1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5" h="145">
                  <a:moveTo>
                    <a:pt x="55" y="115"/>
                  </a:moveTo>
                  <a:lnTo>
                    <a:pt x="82" y="145"/>
                  </a:lnTo>
                  <a:lnTo>
                    <a:pt x="84" y="87"/>
                  </a:lnTo>
                  <a:lnTo>
                    <a:pt x="112" y="89"/>
                  </a:lnTo>
                  <a:lnTo>
                    <a:pt x="142" y="90"/>
                  </a:lnTo>
                  <a:lnTo>
                    <a:pt x="143" y="61"/>
                  </a:lnTo>
                  <a:lnTo>
                    <a:pt x="145" y="32"/>
                  </a:lnTo>
                  <a:lnTo>
                    <a:pt x="117" y="30"/>
                  </a:lnTo>
                  <a:lnTo>
                    <a:pt x="90" y="0"/>
                  </a:lnTo>
                  <a:lnTo>
                    <a:pt x="59" y="27"/>
                  </a:lnTo>
                  <a:lnTo>
                    <a:pt x="57" y="56"/>
                  </a:lnTo>
                  <a:lnTo>
                    <a:pt x="0" y="82"/>
                  </a:lnTo>
                  <a:lnTo>
                    <a:pt x="28" y="85"/>
                  </a:lnTo>
                  <a:lnTo>
                    <a:pt x="27" y="113"/>
                  </a:lnTo>
                  <a:lnTo>
                    <a:pt x="55" y="115"/>
                  </a:lnTo>
                </a:path>
              </a:pathLst>
            </a:custGeom>
            <a:solidFill>
              <a:srgbClr val="B2C2D1"/>
            </a:solidFill>
            <a:ln w="9525">
              <a:noFill/>
              <a:round/>
              <a:headEnd/>
              <a:tailEnd/>
            </a:ln>
          </p:spPr>
          <p:txBody>
            <a:bodyPr/>
            <a:lstStyle/>
            <a:p>
              <a:endParaRPr lang="el-GR"/>
            </a:p>
          </p:txBody>
        </p:sp>
        <p:sp>
          <p:nvSpPr>
            <p:cNvPr id="302" name="Freeform 179"/>
            <p:cNvSpPr>
              <a:spLocks/>
            </p:cNvSpPr>
            <p:nvPr/>
          </p:nvSpPr>
          <p:spPr bwMode="auto">
            <a:xfrm>
              <a:off x="3025" y="1678"/>
              <a:ext cx="14" cy="28"/>
            </a:xfrm>
            <a:custGeom>
              <a:avLst/>
              <a:gdLst>
                <a:gd name="T0" fmla="*/ 0 w 57"/>
                <a:gd name="T1" fmla="*/ 7 h 117"/>
                <a:gd name="T2" fmla="*/ 2 w 57"/>
                <a:gd name="T3" fmla="*/ 7 h 117"/>
                <a:gd name="T4" fmla="*/ 3 w 57"/>
                <a:gd name="T5" fmla="*/ 3 h 117"/>
                <a:gd name="T6" fmla="*/ 2 w 57"/>
                <a:gd name="T7" fmla="*/ 2 h 117"/>
                <a:gd name="T8" fmla="*/ 2 w 57"/>
                <a:gd name="T9" fmla="*/ 3 h 117"/>
                <a:gd name="T10" fmla="*/ 2 w 57"/>
                <a:gd name="T11" fmla="*/ 0 h 117"/>
                <a:gd name="T12" fmla="*/ 0 w 57"/>
                <a:gd name="T13" fmla="*/ 2 h 117"/>
                <a:gd name="T14" fmla="*/ 0 w 57"/>
                <a:gd name="T15" fmla="*/ 3 h 117"/>
                <a:gd name="T16" fmla="*/ 0 w 57"/>
                <a:gd name="T17" fmla="*/ 5 h 117"/>
                <a:gd name="T18" fmla="*/ 0 w 57"/>
                <a:gd name="T19" fmla="*/ 7 h 1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117"/>
                <a:gd name="T32" fmla="*/ 57 w 57"/>
                <a:gd name="T33" fmla="*/ 117 h 1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117">
                  <a:moveTo>
                    <a:pt x="0" y="115"/>
                  </a:moveTo>
                  <a:lnTo>
                    <a:pt x="27" y="117"/>
                  </a:lnTo>
                  <a:lnTo>
                    <a:pt x="57" y="60"/>
                  </a:lnTo>
                  <a:lnTo>
                    <a:pt x="31" y="30"/>
                  </a:lnTo>
                  <a:lnTo>
                    <a:pt x="30" y="59"/>
                  </a:lnTo>
                  <a:lnTo>
                    <a:pt x="33" y="0"/>
                  </a:lnTo>
                  <a:lnTo>
                    <a:pt x="4" y="29"/>
                  </a:lnTo>
                  <a:lnTo>
                    <a:pt x="3" y="57"/>
                  </a:lnTo>
                  <a:lnTo>
                    <a:pt x="1" y="87"/>
                  </a:lnTo>
                  <a:lnTo>
                    <a:pt x="0" y="115"/>
                  </a:lnTo>
                  <a:close/>
                </a:path>
              </a:pathLst>
            </a:custGeom>
            <a:solidFill>
              <a:srgbClr val="B2C2D1"/>
            </a:solidFill>
            <a:ln w="9525">
              <a:noFill/>
              <a:round/>
              <a:headEnd/>
              <a:tailEnd/>
            </a:ln>
          </p:spPr>
          <p:txBody>
            <a:bodyPr/>
            <a:lstStyle/>
            <a:p>
              <a:endParaRPr lang="el-GR"/>
            </a:p>
          </p:txBody>
        </p:sp>
        <p:sp>
          <p:nvSpPr>
            <p:cNvPr id="303" name="Freeform 180"/>
            <p:cNvSpPr>
              <a:spLocks/>
            </p:cNvSpPr>
            <p:nvPr/>
          </p:nvSpPr>
          <p:spPr bwMode="auto">
            <a:xfrm>
              <a:off x="3025" y="1678"/>
              <a:ext cx="14" cy="28"/>
            </a:xfrm>
            <a:custGeom>
              <a:avLst/>
              <a:gdLst>
                <a:gd name="T0" fmla="*/ 0 w 57"/>
                <a:gd name="T1" fmla="*/ 7 h 117"/>
                <a:gd name="T2" fmla="*/ 2 w 57"/>
                <a:gd name="T3" fmla="*/ 7 h 117"/>
                <a:gd name="T4" fmla="*/ 3 w 57"/>
                <a:gd name="T5" fmla="*/ 3 h 117"/>
                <a:gd name="T6" fmla="*/ 2 w 57"/>
                <a:gd name="T7" fmla="*/ 2 h 117"/>
                <a:gd name="T8" fmla="*/ 2 w 57"/>
                <a:gd name="T9" fmla="*/ 3 h 117"/>
                <a:gd name="T10" fmla="*/ 2 w 57"/>
                <a:gd name="T11" fmla="*/ 0 h 117"/>
                <a:gd name="T12" fmla="*/ 0 w 57"/>
                <a:gd name="T13" fmla="*/ 2 h 117"/>
                <a:gd name="T14" fmla="*/ 0 w 57"/>
                <a:gd name="T15" fmla="*/ 3 h 117"/>
                <a:gd name="T16" fmla="*/ 0 w 57"/>
                <a:gd name="T17" fmla="*/ 5 h 117"/>
                <a:gd name="T18" fmla="*/ 0 w 57"/>
                <a:gd name="T19" fmla="*/ 7 h 11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117"/>
                <a:gd name="T32" fmla="*/ 57 w 57"/>
                <a:gd name="T33" fmla="*/ 117 h 11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117">
                  <a:moveTo>
                    <a:pt x="0" y="115"/>
                  </a:moveTo>
                  <a:lnTo>
                    <a:pt x="27" y="117"/>
                  </a:lnTo>
                  <a:lnTo>
                    <a:pt x="57" y="60"/>
                  </a:lnTo>
                  <a:lnTo>
                    <a:pt x="31" y="30"/>
                  </a:lnTo>
                  <a:lnTo>
                    <a:pt x="30" y="59"/>
                  </a:lnTo>
                  <a:lnTo>
                    <a:pt x="33" y="0"/>
                  </a:lnTo>
                  <a:lnTo>
                    <a:pt x="4" y="29"/>
                  </a:lnTo>
                  <a:lnTo>
                    <a:pt x="3" y="57"/>
                  </a:lnTo>
                  <a:lnTo>
                    <a:pt x="1" y="87"/>
                  </a:lnTo>
                  <a:lnTo>
                    <a:pt x="0" y="115"/>
                  </a:lnTo>
                </a:path>
              </a:pathLst>
            </a:custGeom>
            <a:solidFill>
              <a:srgbClr val="B2C2D1"/>
            </a:solidFill>
            <a:ln w="9525">
              <a:noFill/>
              <a:round/>
              <a:headEnd/>
              <a:tailEnd/>
            </a:ln>
          </p:spPr>
          <p:txBody>
            <a:bodyPr/>
            <a:lstStyle/>
            <a:p>
              <a:endParaRPr lang="el-GR"/>
            </a:p>
          </p:txBody>
        </p:sp>
        <p:sp>
          <p:nvSpPr>
            <p:cNvPr id="304" name="Freeform 181"/>
            <p:cNvSpPr>
              <a:spLocks/>
            </p:cNvSpPr>
            <p:nvPr/>
          </p:nvSpPr>
          <p:spPr bwMode="auto">
            <a:xfrm>
              <a:off x="3054" y="1658"/>
              <a:ext cx="13" cy="29"/>
            </a:xfrm>
            <a:custGeom>
              <a:avLst/>
              <a:gdLst>
                <a:gd name="T0" fmla="*/ 0 w 55"/>
                <a:gd name="T1" fmla="*/ 5 h 120"/>
                <a:gd name="T2" fmla="*/ 2 w 55"/>
                <a:gd name="T3" fmla="*/ 2 h 120"/>
                <a:gd name="T4" fmla="*/ 2 w 55"/>
                <a:gd name="T5" fmla="*/ 0 h 120"/>
                <a:gd name="T6" fmla="*/ 3 w 55"/>
                <a:gd name="T7" fmla="*/ 4 h 120"/>
                <a:gd name="T8" fmla="*/ 1 w 55"/>
                <a:gd name="T9" fmla="*/ 7 h 120"/>
                <a:gd name="T10" fmla="*/ 0 w 55"/>
                <a:gd name="T11" fmla="*/ 5 h 120"/>
                <a:gd name="T12" fmla="*/ 0 60000 65536"/>
                <a:gd name="T13" fmla="*/ 0 60000 65536"/>
                <a:gd name="T14" fmla="*/ 0 60000 65536"/>
                <a:gd name="T15" fmla="*/ 0 60000 65536"/>
                <a:gd name="T16" fmla="*/ 0 60000 65536"/>
                <a:gd name="T17" fmla="*/ 0 60000 65536"/>
                <a:gd name="T18" fmla="*/ 0 w 55"/>
                <a:gd name="T19" fmla="*/ 0 h 120"/>
                <a:gd name="T20" fmla="*/ 55 w 55"/>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55" h="120">
                  <a:moveTo>
                    <a:pt x="0" y="89"/>
                  </a:moveTo>
                  <a:lnTo>
                    <a:pt x="29" y="30"/>
                  </a:lnTo>
                  <a:lnTo>
                    <a:pt x="31" y="0"/>
                  </a:lnTo>
                  <a:lnTo>
                    <a:pt x="55" y="61"/>
                  </a:lnTo>
                  <a:lnTo>
                    <a:pt x="25" y="120"/>
                  </a:lnTo>
                  <a:lnTo>
                    <a:pt x="0" y="89"/>
                  </a:lnTo>
                  <a:close/>
                </a:path>
              </a:pathLst>
            </a:custGeom>
            <a:solidFill>
              <a:srgbClr val="B2C2D1"/>
            </a:solidFill>
            <a:ln w="9525">
              <a:noFill/>
              <a:round/>
              <a:headEnd/>
              <a:tailEnd/>
            </a:ln>
          </p:spPr>
          <p:txBody>
            <a:bodyPr/>
            <a:lstStyle/>
            <a:p>
              <a:endParaRPr lang="el-GR"/>
            </a:p>
          </p:txBody>
        </p:sp>
        <p:sp>
          <p:nvSpPr>
            <p:cNvPr id="305" name="Freeform 182"/>
            <p:cNvSpPr>
              <a:spLocks/>
            </p:cNvSpPr>
            <p:nvPr/>
          </p:nvSpPr>
          <p:spPr bwMode="auto">
            <a:xfrm>
              <a:off x="3054" y="1658"/>
              <a:ext cx="13" cy="29"/>
            </a:xfrm>
            <a:custGeom>
              <a:avLst/>
              <a:gdLst>
                <a:gd name="T0" fmla="*/ 0 w 55"/>
                <a:gd name="T1" fmla="*/ 5 h 120"/>
                <a:gd name="T2" fmla="*/ 2 w 55"/>
                <a:gd name="T3" fmla="*/ 2 h 120"/>
                <a:gd name="T4" fmla="*/ 2 w 55"/>
                <a:gd name="T5" fmla="*/ 0 h 120"/>
                <a:gd name="T6" fmla="*/ 3 w 55"/>
                <a:gd name="T7" fmla="*/ 4 h 120"/>
                <a:gd name="T8" fmla="*/ 1 w 55"/>
                <a:gd name="T9" fmla="*/ 7 h 120"/>
                <a:gd name="T10" fmla="*/ 0 w 55"/>
                <a:gd name="T11" fmla="*/ 5 h 120"/>
                <a:gd name="T12" fmla="*/ 0 60000 65536"/>
                <a:gd name="T13" fmla="*/ 0 60000 65536"/>
                <a:gd name="T14" fmla="*/ 0 60000 65536"/>
                <a:gd name="T15" fmla="*/ 0 60000 65536"/>
                <a:gd name="T16" fmla="*/ 0 60000 65536"/>
                <a:gd name="T17" fmla="*/ 0 60000 65536"/>
                <a:gd name="T18" fmla="*/ 0 w 55"/>
                <a:gd name="T19" fmla="*/ 0 h 120"/>
                <a:gd name="T20" fmla="*/ 55 w 55"/>
                <a:gd name="T21" fmla="*/ 120 h 120"/>
              </a:gdLst>
              <a:ahLst/>
              <a:cxnLst>
                <a:cxn ang="T12">
                  <a:pos x="T0" y="T1"/>
                </a:cxn>
                <a:cxn ang="T13">
                  <a:pos x="T2" y="T3"/>
                </a:cxn>
                <a:cxn ang="T14">
                  <a:pos x="T4" y="T5"/>
                </a:cxn>
                <a:cxn ang="T15">
                  <a:pos x="T6" y="T7"/>
                </a:cxn>
                <a:cxn ang="T16">
                  <a:pos x="T8" y="T9"/>
                </a:cxn>
                <a:cxn ang="T17">
                  <a:pos x="T10" y="T11"/>
                </a:cxn>
              </a:cxnLst>
              <a:rect l="T18" t="T19" r="T20" b="T21"/>
              <a:pathLst>
                <a:path w="55" h="120">
                  <a:moveTo>
                    <a:pt x="0" y="89"/>
                  </a:moveTo>
                  <a:lnTo>
                    <a:pt x="29" y="30"/>
                  </a:lnTo>
                  <a:lnTo>
                    <a:pt x="31" y="0"/>
                  </a:lnTo>
                  <a:lnTo>
                    <a:pt x="55" y="61"/>
                  </a:lnTo>
                  <a:lnTo>
                    <a:pt x="25" y="120"/>
                  </a:lnTo>
                  <a:lnTo>
                    <a:pt x="0" y="89"/>
                  </a:lnTo>
                </a:path>
              </a:pathLst>
            </a:custGeom>
            <a:solidFill>
              <a:srgbClr val="B2C2D1"/>
            </a:solidFill>
            <a:ln w="9525">
              <a:noFill/>
              <a:round/>
              <a:headEnd/>
              <a:tailEnd/>
            </a:ln>
          </p:spPr>
          <p:txBody>
            <a:bodyPr/>
            <a:lstStyle/>
            <a:p>
              <a:endParaRPr lang="el-GR"/>
            </a:p>
          </p:txBody>
        </p:sp>
        <p:sp>
          <p:nvSpPr>
            <p:cNvPr id="306" name="Freeform 183"/>
            <p:cNvSpPr>
              <a:spLocks/>
            </p:cNvSpPr>
            <p:nvPr/>
          </p:nvSpPr>
          <p:spPr bwMode="auto">
            <a:xfrm>
              <a:off x="1996" y="1821"/>
              <a:ext cx="58" cy="104"/>
            </a:xfrm>
            <a:custGeom>
              <a:avLst/>
              <a:gdLst>
                <a:gd name="T0" fmla="*/ 13 w 239"/>
                <a:gd name="T1" fmla="*/ 5 h 436"/>
                <a:gd name="T2" fmla="*/ 13 w 239"/>
                <a:gd name="T3" fmla="*/ 5 h 436"/>
                <a:gd name="T4" fmla="*/ 12 w 239"/>
                <a:gd name="T5" fmla="*/ 9 h 436"/>
                <a:gd name="T6" fmla="*/ 14 w 239"/>
                <a:gd name="T7" fmla="*/ 10 h 436"/>
                <a:gd name="T8" fmla="*/ 12 w 239"/>
                <a:gd name="T9" fmla="*/ 12 h 436"/>
                <a:gd name="T10" fmla="*/ 10 w 239"/>
                <a:gd name="T11" fmla="*/ 15 h 436"/>
                <a:gd name="T12" fmla="*/ 12 w 239"/>
                <a:gd name="T13" fmla="*/ 14 h 436"/>
                <a:gd name="T14" fmla="*/ 12 w 239"/>
                <a:gd name="T15" fmla="*/ 17 h 436"/>
                <a:gd name="T16" fmla="*/ 12 w 239"/>
                <a:gd name="T17" fmla="*/ 20 h 436"/>
                <a:gd name="T18" fmla="*/ 10 w 239"/>
                <a:gd name="T19" fmla="*/ 20 h 436"/>
                <a:gd name="T20" fmla="*/ 8 w 239"/>
                <a:gd name="T21" fmla="*/ 22 h 436"/>
                <a:gd name="T22" fmla="*/ 7 w 239"/>
                <a:gd name="T23" fmla="*/ 21 h 436"/>
                <a:gd name="T24" fmla="*/ 5 w 239"/>
                <a:gd name="T25" fmla="*/ 25 h 436"/>
                <a:gd name="T26" fmla="*/ 5 w 239"/>
                <a:gd name="T27" fmla="*/ 21 h 436"/>
                <a:gd name="T28" fmla="*/ 3 w 239"/>
                <a:gd name="T29" fmla="*/ 21 h 436"/>
                <a:gd name="T30" fmla="*/ 4 w 239"/>
                <a:gd name="T31" fmla="*/ 20 h 436"/>
                <a:gd name="T32" fmla="*/ 2 w 239"/>
                <a:gd name="T33" fmla="*/ 23 h 436"/>
                <a:gd name="T34" fmla="*/ 0 w 239"/>
                <a:gd name="T35" fmla="*/ 25 h 436"/>
                <a:gd name="T36" fmla="*/ 0 w 239"/>
                <a:gd name="T37" fmla="*/ 23 h 436"/>
                <a:gd name="T38" fmla="*/ 2 w 239"/>
                <a:gd name="T39" fmla="*/ 20 h 436"/>
                <a:gd name="T40" fmla="*/ 0 w 239"/>
                <a:gd name="T41" fmla="*/ 15 h 436"/>
                <a:gd name="T42" fmla="*/ 2 w 239"/>
                <a:gd name="T43" fmla="*/ 15 h 436"/>
                <a:gd name="T44" fmla="*/ 2 w 239"/>
                <a:gd name="T45" fmla="*/ 10 h 436"/>
                <a:gd name="T46" fmla="*/ 4 w 239"/>
                <a:gd name="T47" fmla="*/ 5 h 436"/>
                <a:gd name="T48" fmla="*/ 6 w 239"/>
                <a:gd name="T49" fmla="*/ 5 h 436"/>
                <a:gd name="T50" fmla="*/ 8 w 239"/>
                <a:gd name="T51" fmla="*/ 2 h 436"/>
                <a:gd name="T52" fmla="*/ 9 w 239"/>
                <a:gd name="T53" fmla="*/ 2 h 436"/>
                <a:gd name="T54" fmla="*/ 10 w 239"/>
                <a:gd name="T55" fmla="*/ 0 h 436"/>
                <a:gd name="T56" fmla="*/ 13 w 239"/>
                <a:gd name="T57" fmla="*/ 0 h 436"/>
                <a:gd name="T58" fmla="*/ 13 w 239"/>
                <a:gd name="T59" fmla="*/ 2 h 436"/>
                <a:gd name="T60" fmla="*/ 13 w 239"/>
                <a:gd name="T61" fmla="*/ 5 h 4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9"/>
                <a:gd name="T94" fmla="*/ 0 h 436"/>
                <a:gd name="T95" fmla="*/ 239 w 239"/>
                <a:gd name="T96" fmla="*/ 436 h 4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9" h="436">
                  <a:moveTo>
                    <a:pt x="216" y="91"/>
                  </a:moveTo>
                  <a:lnTo>
                    <a:pt x="216" y="91"/>
                  </a:lnTo>
                  <a:lnTo>
                    <a:pt x="212" y="149"/>
                  </a:lnTo>
                  <a:lnTo>
                    <a:pt x="239" y="181"/>
                  </a:lnTo>
                  <a:lnTo>
                    <a:pt x="209" y="208"/>
                  </a:lnTo>
                  <a:lnTo>
                    <a:pt x="178" y="265"/>
                  </a:lnTo>
                  <a:lnTo>
                    <a:pt x="208" y="237"/>
                  </a:lnTo>
                  <a:lnTo>
                    <a:pt x="205" y="295"/>
                  </a:lnTo>
                  <a:lnTo>
                    <a:pt x="201" y="354"/>
                  </a:lnTo>
                  <a:lnTo>
                    <a:pt x="173" y="353"/>
                  </a:lnTo>
                  <a:lnTo>
                    <a:pt x="144" y="381"/>
                  </a:lnTo>
                  <a:lnTo>
                    <a:pt x="115" y="379"/>
                  </a:lnTo>
                  <a:lnTo>
                    <a:pt x="85" y="436"/>
                  </a:lnTo>
                  <a:lnTo>
                    <a:pt x="87" y="378"/>
                  </a:lnTo>
                  <a:lnTo>
                    <a:pt x="59" y="377"/>
                  </a:lnTo>
                  <a:lnTo>
                    <a:pt x="61" y="347"/>
                  </a:lnTo>
                  <a:lnTo>
                    <a:pt x="29" y="404"/>
                  </a:lnTo>
                  <a:lnTo>
                    <a:pt x="0" y="432"/>
                  </a:lnTo>
                  <a:lnTo>
                    <a:pt x="1" y="403"/>
                  </a:lnTo>
                  <a:lnTo>
                    <a:pt x="33" y="345"/>
                  </a:lnTo>
                  <a:lnTo>
                    <a:pt x="9" y="256"/>
                  </a:lnTo>
                  <a:lnTo>
                    <a:pt x="37" y="258"/>
                  </a:lnTo>
                  <a:lnTo>
                    <a:pt x="42" y="170"/>
                  </a:lnTo>
                  <a:lnTo>
                    <a:pt x="75" y="83"/>
                  </a:lnTo>
                  <a:lnTo>
                    <a:pt x="103" y="85"/>
                  </a:lnTo>
                  <a:lnTo>
                    <a:pt x="134" y="28"/>
                  </a:lnTo>
                  <a:lnTo>
                    <a:pt x="162" y="29"/>
                  </a:lnTo>
                  <a:lnTo>
                    <a:pt x="164" y="0"/>
                  </a:lnTo>
                  <a:lnTo>
                    <a:pt x="220" y="3"/>
                  </a:lnTo>
                  <a:lnTo>
                    <a:pt x="219" y="32"/>
                  </a:lnTo>
                  <a:lnTo>
                    <a:pt x="216" y="91"/>
                  </a:lnTo>
                  <a:close/>
                </a:path>
              </a:pathLst>
            </a:custGeom>
            <a:solidFill>
              <a:srgbClr val="B2C2D1"/>
            </a:solidFill>
            <a:ln w="9525">
              <a:noFill/>
              <a:round/>
              <a:headEnd/>
              <a:tailEnd/>
            </a:ln>
          </p:spPr>
          <p:txBody>
            <a:bodyPr/>
            <a:lstStyle/>
            <a:p>
              <a:endParaRPr lang="el-GR"/>
            </a:p>
          </p:txBody>
        </p:sp>
        <p:sp>
          <p:nvSpPr>
            <p:cNvPr id="307" name="Freeform 184"/>
            <p:cNvSpPr>
              <a:spLocks/>
            </p:cNvSpPr>
            <p:nvPr/>
          </p:nvSpPr>
          <p:spPr bwMode="auto">
            <a:xfrm>
              <a:off x="1996" y="1821"/>
              <a:ext cx="58" cy="104"/>
            </a:xfrm>
            <a:custGeom>
              <a:avLst/>
              <a:gdLst>
                <a:gd name="T0" fmla="*/ 13 w 239"/>
                <a:gd name="T1" fmla="*/ 5 h 436"/>
                <a:gd name="T2" fmla="*/ 13 w 239"/>
                <a:gd name="T3" fmla="*/ 5 h 436"/>
                <a:gd name="T4" fmla="*/ 12 w 239"/>
                <a:gd name="T5" fmla="*/ 9 h 436"/>
                <a:gd name="T6" fmla="*/ 14 w 239"/>
                <a:gd name="T7" fmla="*/ 10 h 436"/>
                <a:gd name="T8" fmla="*/ 12 w 239"/>
                <a:gd name="T9" fmla="*/ 12 h 436"/>
                <a:gd name="T10" fmla="*/ 10 w 239"/>
                <a:gd name="T11" fmla="*/ 15 h 436"/>
                <a:gd name="T12" fmla="*/ 12 w 239"/>
                <a:gd name="T13" fmla="*/ 14 h 436"/>
                <a:gd name="T14" fmla="*/ 12 w 239"/>
                <a:gd name="T15" fmla="*/ 17 h 436"/>
                <a:gd name="T16" fmla="*/ 12 w 239"/>
                <a:gd name="T17" fmla="*/ 20 h 436"/>
                <a:gd name="T18" fmla="*/ 10 w 239"/>
                <a:gd name="T19" fmla="*/ 20 h 436"/>
                <a:gd name="T20" fmla="*/ 8 w 239"/>
                <a:gd name="T21" fmla="*/ 22 h 436"/>
                <a:gd name="T22" fmla="*/ 7 w 239"/>
                <a:gd name="T23" fmla="*/ 21 h 436"/>
                <a:gd name="T24" fmla="*/ 5 w 239"/>
                <a:gd name="T25" fmla="*/ 25 h 436"/>
                <a:gd name="T26" fmla="*/ 5 w 239"/>
                <a:gd name="T27" fmla="*/ 21 h 436"/>
                <a:gd name="T28" fmla="*/ 3 w 239"/>
                <a:gd name="T29" fmla="*/ 21 h 436"/>
                <a:gd name="T30" fmla="*/ 4 w 239"/>
                <a:gd name="T31" fmla="*/ 20 h 436"/>
                <a:gd name="T32" fmla="*/ 2 w 239"/>
                <a:gd name="T33" fmla="*/ 23 h 436"/>
                <a:gd name="T34" fmla="*/ 0 w 239"/>
                <a:gd name="T35" fmla="*/ 25 h 436"/>
                <a:gd name="T36" fmla="*/ 0 w 239"/>
                <a:gd name="T37" fmla="*/ 23 h 436"/>
                <a:gd name="T38" fmla="*/ 2 w 239"/>
                <a:gd name="T39" fmla="*/ 20 h 436"/>
                <a:gd name="T40" fmla="*/ 0 w 239"/>
                <a:gd name="T41" fmla="*/ 15 h 436"/>
                <a:gd name="T42" fmla="*/ 2 w 239"/>
                <a:gd name="T43" fmla="*/ 15 h 436"/>
                <a:gd name="T44" fmla="*/ 2 w 239"/>
                <a:gd name="T45" fmla="*/ 10 h 436"/>
                <a:gd name="T46" fmla="*/ 4 w 239"/>
                <a:gd name="T47" fmla="*/ 5 h 436"/>
                <a:gd name="T48" fmla="*/ 6 w 239"/>
                <a:gd name="T49" fmla="*/ 5 h 436"/>
                <a:gd name="T50" fmla="*/ 8 w 239"/>
                <a:gd name="T51" fmla="*/ 2 h 436"/>
                <a:gd name="T52" fmla="*/ 9 w 239"/>
                <a:gd name="T53" fmla="*/ 2 h 436"/>
                <a:gd name="T54" fmla="*/ 10 w 239"/>
                <a:gd name="T55" fmla="*/ 0 h 436"/>
                <a:gd name="T56" fmla="*/ 13 w 239"/>
                <a:gd name="T57" fmla="*/ 0 h 436"/>
                <a:gd name="T58" fmla="*/ 13 w 239"/>
                <a:gd name="T59" fmla="*/ 2 h 436"/>
                <a:gd name="T60" fmla="*/ 13 w 239"/>
                <a:gd name="T61" fmla="*/ 5 h 4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9"/>
                <a:gd name="T94" fmla="*/ 0 h 436"/>
                <a:gd name="T95" fmla="*/ 239 w 239"/>
                <a:gd name="T96" fmla="*/ 436 h 4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9" h="436">
                  <a:moveTo>
                    <a:pt x="216" y="91"/>
                  </a:moveTo>
                  <a:lnTo>
                    <a:pt x="216" y="91"/>
                  </a:lnTo>
                  <a:lnTo>
                    <a:pt x="212" y="149"/>
                  </a:lnTo>
                  <a:lnTo>
                    <a:pt x="239" y="181"/>
                  </a:lnTo>
                  <a:lnTo>
                    <a:pt x="209" y="208"/>
                  </a:lnTo>
                  <a:lnTo>
                    <a:pt x="178" y="265"/>
                  </a:lnTo>
                  <a:lnTo>
                    <a:pt x="208" y="237"/>
                  </a:lnTo>
                  <a:lnTo>
                    <a:pt x="205" y="295"/>
                  </a:lnTo>
                  <a:lnTo>
                    <a:pt x="201" y="354"/>
                  </a:lnTo>
                  <a:lnTo>
                    <a:pt x="173" y="353"/>
                  </a:lnTo>
                  <a:lnTo>
                    <a:pt x="144" y="381"/>
                  </a:lnTo>
                  <a:lnTo>
                    <a:pt x="115" y="379"/>
                  </a:lnTo>
                  <a:lnTo>
                    <a:pt x="85" y="436"/>
                  </a:lnTo>
                  <a:lnTo>
                    <a:pt x="87" y="378"/>
                  </a:lnTo>
                  <a:lnTo>
                    <a:pt x="59" y="377"/>
                  </a:lnTo>
                  <a:lnTo>
                    <a:pt x="61" y="347"/>
                  </a:lnTo>
                  <a:lnTo>
                    <a:pt x="29" y="404"/>
                  </a:lnTo>
                  <a:lnTo>
                    <a:pt x="0" y="432"/>
                  </a:lnTo>
                  <a:lnTo>
                    <a:pt x="1" y="403"/>
                  </a:lnTo>
                  <a:lnTo>
                    <a:pt x="33" y="345"/>
                  </a:lnTo>
                  <a:lnTo>
                    <a:pt x="9" y="256"/>
                  </a:lnTo>
                  <a:lnTo>
                    <a:pt x="37" y="258"/>
                  </a:lnTo>
                  <a:lnTo>
                    <a:pt x="42" y="170"/>
                  </a:lnTo>
                  <a:lnTo>
                    <a:pt x="75" y="83"/>
                  </a:lnTo>
                  <a:lnTo>
                    <a:pt x="103" y="85"/>
                  </a:lnTo>
                  <a:lnTo>
                    <a:pt x="134" y="28"/>
                  </a:lnTo>
                  <a:lnTo>
                    <a:pt x="162" y="29"/>
                  </a:lnTo>
                  <a:lnTo>
                    <a:pt x="164" y="0"/>
                  </a:lnTo>
                  <a:lnTo>
                    <a:pt x="220" y="3"/>
                  </a:lnTo>
                  <a:lnTo>
                    <a:pt x="219" y="32"/>
                  </a:lnTo>
                  <a:lnTo>
                    <a:pt x="216" y="91"/>
                  </a:lnTo>
                </a:path>
              </a:pathLst>
            </a:custGeom>
            <a:solidFill>
              <a:srgbClr val="B2C2D1"/>
            </a:solidFill>
            <a:ln w="9525">
              <a:noFill/>
              <a:round/>
              <a:headEnd/>
              <a:tailEnd/>
            </a:ln>
          </p:spPr>
          <p:txBody>
            <a:bodyPr/>
            <a:lstStyle/>
            <a:p>
              <a:endParaRPr lang="el-GR"/>
            </a:p>
          </p:txBody>
        </p:sp>
        <p:sp>
          <p:nvSpPr>
            <p:cNvPr id="308" name="Freeform 185"/>
            <p:cNvSpPr>
              <a:spLocks/>
            </p:cNvSpPr>
            <p:nvPr/>
          </p:nvSpPr>
          <p:spPr bwMode="auto">
            <a:xfrm>
              <a:off x="2021" y="1954"/>
              <a:ext cx="44" cy="77"/>
            </a:xfrm>
            <a:custGeom>
              <a:avLst/>
              <a:gdLst>
                <a:gd name="T0" fmla="*/ 2 w 183"/>
                <a:gd name="T1" fmla="*/ 0 h 326"/>
                <a:gd name="T2" fmla="*/ 3 w 183"/>
                <a:gd name="T3" fmla="*/ 0 h 326"/>
                <a:gd name="T4" fmla="*/ 3 w 183"/>
                <a:gd name="T5" fmla="*/ 2 h 326"/>
                <a:gd name="T6" fmla="*/ 3 w 183"/>
                <a:gd name="T7" fmla="*/ 3 h 326"/>
                <a:gd name="T8" fmla="*/ 5 w 183"/>
                <a:gd name="T9" fmla="*/ 3 h 326"/>
                <a:gd name="T10" fmla="*/ 5 w 183"/>
                <a:gd name="T11" fmla="*/ 5 h 326"/>
                <a:gd name="T12" fmla="*/ 6 w 183"/>
                <a:gd name="T13" fmla="*/ 5 h 326"/>
                <a:gd name="T14" fmla="*/ 5 w 183"/>
                <a:gd name="T15" fmla="*/ 7 h 326"/>
                <a:gd name="T16" fmla="*/ 5 w 183"/>
                <a:gd name="T17" fmla="*/ 10 h 326"/>
                <a:gd name="T18" fmla="*/ 6 w 183"/>
                <a:gd name="T19" fmla="*/ 12 h 326"/>
                <a:gd name="T20" fmla="*/ 6 w 183"/>
                <a:gd name="T21" fmla="*/ 10 h 326"/>
                <a:gd name="T22" fmla="*/ 7 w 183"/>
                <a:gd name="T23" fmla="*/ 12 h 326"/>
                <a:gd name="T24" fmla="*/ 7 w 183"/>
                <a:gd name="T25" fmla="*/ 15 h 326"/>
                <a:gd name="T26" fmla="*/ 11 w 183"/>
                <a:gd name="T27" fmla="*/ 17 h 326"/>
                <a:gd name="T28" fmla="*/ 6 w 183"/>
                <a:gd name="T29" fmla="*/ 18 h 326"/>
                <a:gd name="T30" fmla="*/ 4 w 183"/>
                <a:gd name="T31" fmla="*/ 17 h 326"/>
                <a:gd name="T32" fmla="*/ 4 w 183"/>
                <a:gd name="T33" fmla="*/ 13 h 326"/>
                <a:gd name="T34" fmla="*/ 3 w 183"/>
                <a:gd name="T35" fmla="*/ 12 h 326"/>
                <a:gd name="T36" fmla="*/ 0 w 183"/>
                <a:gd name="T37" fmla="*/ 3 h 326"/>
                <a:gd name="T38" fmla="*/ 0 w 183"/>
                <a:gd name="T39" fmla="*/ 1 h 326"/>
                <a:gd name="T40" fmla="*/ 2 w 183"/>
                <a:gd name="T41" fmla="*/ 2 h 326"/>
                <a:gd name="T42" fmla="*/ 2 w 183"/>
                <a:gd name="T43" fmla="*/ 0 h 3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3"/>
                <a:gd name="T67" fmla="*/ 0 h 326"/>
                <a:gd name="T68" fmla="*/ 183 w 183"/>
                <a:gd name="T69" fmla="*/ 326 h 3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3" h="326">
                  <a:moveTo>
                    <a:pt x="30" y="0"/>
                  </a:moveTo>
                  <a:lnTo>
                    <a:pt x="59" y="1"/>
                  </a:lnTo>
                  <a:lnTo>
                    <a:pt x="56" y="31"/>
                  </a:lnTo>
                  <a:lnTo>
                    <a:pt x="55" y="60"/>
                  </a:lnTo>
                  <a:lnTo>
                    <a:pt x="83" y="61"/>
                  </a:lnTo>
                  <a:lnTo>
                    <a:pt x="82" y="90"/>
                  </a:lnTo>
                  <a:lnTo>
                    <a:pt x="111" y="92"/>
                  </a:lnTo>
                  <a:lnTo>
                    <a:pt x="80" y="119"/>
                  </a:lnTo>
                  <a:lnTo>
                    <a:pt x="77" y="179"/>
                  </a:lnTo>
                  <a:lnTo>
                    <a:pt x="104" y="209"/>
                  </a:lnTo>
                  <a:lnTo>
                    <a:pt x="105" y="180"/>
                  </a:lnTo>
                  <a:lnTo>
                    <a:pt x="131" y="210"/>
                  </a:lnTo>
                  <a:lnTo>
                    <a:pt x="129" y="270"/>
                  </a:lnTo>
                  <a:lnTo>
                    <a:pt x="183" y="301"/>
                  </a:lnTo>
                  <a:lnTo>
                    <a:pt x="98" y="326"/>
                  </a:lnTo>
                  <a:lnTo>
                    <a:pt x="70" y="296"/>
                  </a:lnTo>
                  <a:lnTo>
                    <a:pt x="75" y="237"/>
                  </a:lnTo>
                  <a:lnTo>
                    <a:pt x="48" y="207"/>
                  </a:lnTo>
                  <a:lnTo>
                    <a:pt x="0" y="57"/>
                  </a:lnTo>
                  <a:lnTo>
                    <a:pt x="1" y="27"/>
                  </a:lnTo>
                  <a:lnTo>
                    <a:pt x="29" y="29"/>
                  </a:lnTo>
                  <a:lnTo>
                    <a:pt x="30" y="0"/>
                  </a:lnTo>
                  <a:close/>
                </a:path>
              </a:pathLst>
            </a:custGeom>
            <a:solidFill>
              <a:srgbClr val="B2C2D1"/>
            </a:solidFill>
            <a:ln w="9525">
              <a:noFill/>
              <a:round/>
              <a:headEnd/>
              <a:tailEnd/>
            </a:ln>
          </p:spPr>
          <p:txBody>
            <a:bodyPr/>
            <a:lstStyle/>
            <a:p>
              <a:endParaRPr lang="el-GR"/>
            </a:p>
          </p:txBody>
        </p:sp>
        <p:sp>
          <p:nvSpPr>
            <p:cNvPr id="309" name="Freeform 186"/>
            <p:cNvSpPr>
              <a:spLocks/>
            </p:cNvSpPr>
            <p:nvPr/>
          </p:nvSpPr>
          <p:spPr bwMode="auto">
            <a:xfrm>
              <a:off x="2021" y="1954"/>
              <a:ext cx="44" cy="77"/>
            </a:xfrm>
            <a:custGeom>
              <a:avLst/>
              <a:gdLst>
                <a:gd name="T0" fmla="*/ 2 w 183"/>
                <a:gd name="T1" fmla="*/ 0 h 326"/>
                <a:gd name="T2" fmla="*/ 3 w 183"/>
                <a:gd name="T3" fmla="*/ 0 h 326"/>
                <a:gd name="T4" fmla="*/ 3 w 183"/>
                <a:gd name="T5" fmla="*/ 2 h 326"/>
                <a:gd name="T6" fmla="*/ 3 w 183"/>
                <a:gd name="T7" fmla="*/ 3 h 326"/>
                <a:gd name="T8" fmla="*/ 5 w 183"/>
                <a:gd name="T9" fmla="*/ 3 h 326"/>
                <a:gd name="T10" fmla="*/ 5 w 183"/>
                <a:gd name="T11" fmla="*/ 5 h 326"/>
                <a:gd name="T12" fmla="*/ 6 w 183"/>
                <a:gd name="T13" fmla="*/ 5 h 326"/>
                <a:gd name="T14" fmla="*/ 5 w 183"/>
                <a:gd name="T15" fmla="*/ 7 h 326"/>
                <a:gd name="T16" fmla="*/ 5 w 183"/>
                <a:gd name="T17" fmla="*/ 10 h 326"/>
                <a:gd name="T18" fmla="*/ 6 w 183"/>
                <a:gd name="T19" fmla="*/ 12 h 326"/>
                <a:gd name="T20" fmla="*/ 6 w 183"/>
                <a:gd name="T21" fmla="*/ 10 h 326"/>
                <a:gd name="T22" fmla="*/ 7 w 183"/>
                <a:gd name="T23" fmla="*/ 12 h 326"/>
                <a:gd name="T24" fmla="*/ 7 w 183"/>
                <a:gd name="T25" fmla="*/ 15 h 326"/>
                <a:gd name="T26" fmla="*/ 11 w 183"/>
                <a:gd name="T27" fmla="*/ 17 h 326"/>
                <a:gd name="T28" fmla="*/ 6 w 183"/>
                <a:gd name="T29" fmla="*/ 18 h 326"/>
                <a:gd name="T30" fmla="*/ 4 w 183"/>
                <a:gd name="T31" fmla="*/ 17 h 326"/>
                <a:gd name="T32" fmla="*/ 4 w 183"/>
                <a:gd name="T33" fmla="*/ 13 h 326"/>
                <a:gd name="T34" fmla="*/ 3 w 183"/>
                <a:gd name="T35" fmla="*/ 12 h 326"/>
                <a:gd name="T36" fmla="*/ 0 w 183"/>
                <a:gd name="T37" fmla="*/ 3 h 326"/>
                <a:gd name="T38" fmla="*/ 0 w 183"/>
                <a:gd name="T39" fmla="*/ 1 h 326"/>
                <a:gd name="T40" fmla="*/ 2 w 183"/>
                <a:gd name="T41" fmla="*/ 2 h 326"/>
                <a:gd name="T42" fmla="*/ 2 w 183"/>
                <a:gd name="T43" fmla="*/ 0 h 3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83"/>
                <a:gd name="T67" fmla="*/ 0 h 326"/>
                <a:gd name="T68" fmla="*/ 183 w 183"/>
                <a:gd name="T69" fmla="*/ 326 h 3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83" h="326">
                  <a:moveTo>
                    <a:pt x="30" y="0"/>
                  </a:moveTo>
                  <a:lnTo>
                    <a:pt x="59" y="1"/>
                  </a:lnTo>
                  <a:lnTo>
                    <a:pt x="56" y="31"/>
                  </a:lnTo>
                  <a:lnTo>
                    <a:pt x="55" y="60"/>
                  </a:lnTo>
                  <a:lnTo>
                    <a:pt x="83" y="61"/>
                  </a:lnTo>
                  <a:lnTo>
                    <a:pt x="82" y="90"/>
                  </a:lnTo>
                  <a:lnTo>
                    <a:pt x="111" y="92"/>
                  </a:lnTo>
                  <a:lnTo>
                    <a:pt x="80" y="119"/>
                  </a:lnTo>
                  <a:lnTo>
                    <a:pt x="77" y="179"/>
                  </a:lnTo>
                  <a:lnTo>
                    <a:pt x="104" y="209"/>
                  </a:lnTo>
                  <a:lnTo>
                    <a:pt x="105" y="180"/>
                  </a:lnTo>
                  <a:lnTo>
                    <a:pt x="131" y="210"/>
                  </a:lnTo>
                  <a:lnTo>
                    <a:pt x="129" y="270"/>
                  </a:lnTo>
                  <a:lnTo>
                    <a:pt x="183" y="301"/>
                  </a:lnTo>
                  <a:lnTo>
                    <a:pt x="98" y="326"/>
                  </a:lnTo>
                  <a:lnTo>
                    <a:pt x="70" y="296"/>
                  </a:lnTo>
                  <a:lnTo>
                    <a:pt x="75" y="237"/>
                  </a:lnTo>
                  <a:lnTo>
                    <a:pt x="48" y="207"/>
                  </a:lnTo>
                  <a:lnTo>
                    <a:pt x="0" y="57"/>
                  </a:lnTo>
                  <a:lnTo>
                    <a:pt x="1" y="27"/>
                  </a:lnTo>
                  <a:lnTo>
                    <a:pt x="29" y="29"/>
                  </a:lnTo>
                  <a:lnTo>
                    <a:pt x="30" y="0"/>
                  </a:lnTo>
                </a:path>
              </a:pathLst>
            </a:custGeom>
            <a:solidFill>
              <a:srgbClr val="B2C2D1"/>
            </a:solidFill>
            <a:ln w="9525">
              <a:noFill/>
              <a:round/>
              <a:headEnd/>
              <a:tailEnd/>
            </a:ln>
          </p:spPr>
          <p:txBody>
            <a:bodyPr/>
            <a:lstStyle/>
            <a:p>
              <a:endParaRPr lang="el-GR"/>
            </a:p>
          </p:txBody>
        </p:sp>
        <p:sp>
          <p:nvSpPr>
            <p:cNvPr id="310" name="Freeform 187"/>
            <p:cNvSpPr>
              <a:spLocks/>
            </p:cNvSpPr>
            <p:nvPr/>
          </p:nvSpPr>
          <p:spPr bwMode="auto">
            <a:xfrm>
              <a:off x="1870" y="1653"/>
              <a:ext cx="26" cy="28"/>
            </a:xfrm>
            <a:custGeom>
              <a:avLst/>
              <a:gdLst>
                <a:gd name="T0" fmla="*/ 3 w 112"/>
                <a:gd name="T1" fmla="*/ 2 h 120"/>
                <a:gd name="T2" fmla="*/ 3 w 112"/>
                <a:gd name="T3" fmla="*/ 3 h 120"/>
                <a:gd name="T4" fmla="*/ 5 w 112"/>
                <a:gd name="T5" fmla="*/ 3 h 120"/>
                <a:gd name="T6" fmla="*/ 5 w 112"/>
                <a:gd name="T7" fmla="*/ 5 h 120"/>
                <a:gd name="T8" fmla="*/ 6 w 112"/>
                <a:gd name="T9" fmla="*/ 5 h 120"/>
                <a:gd name="T10" fmla="*/ 4 w 112"/>
                <a:gd name="T11" fmla="*/ 7 h 120"/>
                <a:gd name="T12" fmla="*/ 3 w 112"/>
                <a:gd name="T13" fmla="*/ 7 h 120"/>
                <a:gd name="T14" fmla="*/ 3 w 112"/>
                <a:gd name="T15" fmla="*/ 5 h 120"/>
                <a:gd name="T16" fmla="*/ 2 w 112"/>
                <a:gd name="T17" fmla="*/ 3 h 120"/>
                <a:gd name="T18" fmla="*/ 0 w 112"/>
                <a:gd name="T19" fmla="*/ 3 h 120"/>
                <a:gd name="T20" fmla="*/ 0 w 112"/>
                <a:gd name="T21" fmla="*/ 2 h 120"/>
                <a:gd name="T22" fmla="*/ 0 w 112"/>
                <a:gd name="T23" fmla="*/ 0 h 120"/>
                <a:gd name="T24" fmla="*/ 2 w 112"/>
                <a:gd name="T25" fmla="*/ 0 h 120"/>
                <a:gd name="T26" fmla="*/ 3 w 112"/>
                <a:gd name="T27" fmla="*/ 2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120"/>
                <a:gd name="T44" fmla="*/ 112 w 112"/>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120">
                  <a:moveTo>
                    <a:pt x="59" y="31"/>
                  </a:moveTo>
                  <a:lnTo>
                    <a:pt x="58" y="61"/>
                  </a:lnTo>
                  <a:lnTo>
                    <a:pt x="86" y="62"/>
                  </a:lnTo>
                  <a:lnTo>
                    <a:pt x="84" y="92"/>
                  </a:lnTo>
                  <a:lnTo>
                    <a:pt x="112" y="93"/>
                  </a:lnTo>
                  <a:lnTo>
                    <a:pt x="83" y="120"/>
                  </a:lnTo>
                  <a:lnTo>
                    <a:pt x="54" y="119"/>
                  </a:lnTo>
                  <a:lnTo>
                    <a:pt x="56" y="90"/>
                  </a:lnTo>
                  <a:lnTo>
                    <a:pt x="28" y="59"/>
                  </a:lnTo>
                  <a:lnTo>
                    <a:pt x="0" y="58"/>
                  </a:lnTo>
                  <a:lnTo>
                    <a:pt x="2" y="29"/>
                  </a:lnTo>
                  <a:lnTo>
                    <a:pt x="4" y="0"/>
                  </a:lnTo>
                  <a:lnTo>
                    <a:pt x="32" y="1"/>
                  </a:lnTo>
                  <a:lnTo>
                    <a:pt x="59" y="31"/>
                  </a:lnTo>
                  <a:close/>
                </a:path>
              </a:pathLst>
            </a:custGeom>
            <a:solidFill>
              <a:srgbClr val="B2C2D1"/>
            </a:solidFill>
            <a:ln w="9525">
              <a:noFill/>
              <a:round/>
              <a:headEnd/>
              <a:tailEnd/>
            </a:ln>
          </p:spPr>
          <p:txBody>
            <a:bodyPr/>
            <a:lstStyle/>
            <a:p>
              <a:endParaRPr lang="el-GR"/>
            </a:p>
          </p:txBody>
        </p:sp>
        <p:sp>
          <p:nvSpPr>
            <p:cNvPr id="311" name="Freeform 188"/>
            <p:cNvSpPr>
              <a:spLocks/>
            </p:cNvSpPr>
            <p:nvPr/>
          </p:nvSpPr>
          <p:spPr bwMode="auto">
            <a:xfrm>
              <a:off x="1870" y="1653"/>
              <a:ext cx="26" cy="28"/>
            </a:xfrm>
            <a:custGeom>
              <a:avLst/>
              <a:gdLst>
                <a:gd name="T0" fmla="*/ 3 w 112"/>
                <a:gd name="T1" fmla="*/ 2 h 120"/>
                <a:gd name="T2" fmla="*/ 3 w 112"/>
                <a:gd name="T3" fmla="*/ 3 h 120"/>
                <a:gd name="T4" fmla="*/ 5 w 112"/>
                <a:gd name="T5" fmla="*/ 3 h 120"/>
                <a:gd name="T6" fmla="*/ 5 w 112"/>
                <a:gd name="T7" fmla="*/ 5 h 120"/>
                <a:gd name="T8" fmla="*/ 6 w 112"/>
                <a:gd name="T9" fmla="*/ 5 h 120"/>
                <a:gd name="T10" fmla="*/ 4 w 112"/>
                <a:gd name="T11" fmla="*/ 7 h 120"/>
                <a:gd name="T12" fmla="*/ 3 w 112"/>
                <a:gd name="T13" fmla="*/ 7 h 120"/>
                <a:gd name="T14" fmla="*/ 3 w 112"/>
                <a:gd name="T15" fmla="*/ 5 h 120"/>
                <a:gd name="T16" fmla="*/ 2 w 112"/>
                <a:gd name="T17" fmla="*/ 3 h 120"/>
                <a:gd name="T18" fmla="*/ 0 w 112"/>
                <a:gd name="T19" fmla="*/ 3 h 120"/>
                <a:gd name="T20" fmla="*/ 0 w 112"/>
                <a:gd name="T21" fmla="*/ 2 h 120"/>
                <a:gd name="T22" fmla="*/ 0 w 112"/>
                <a:gd name="T23" fmla="*/ 0 h 120"/>
                <a:gd name="T24" fmla="*/ 2 w 112"/>
                <a:gd name="T25" fmla="*/ 0 h 120"/>
                <a:gd name="T26" fmla="*/ 3 w 112"/>
                <a:gd name="T27" fmla="*/ 2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120"/>
                <a:gd name="T44" fmla="*/ 112 w 112"/>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120">
                  <a:moveTo>
                    <a:pt x="59" y="31"/>
                  </a:moveTo>
                  <a:lnTo>
                    <a:pt x="58" y="61"/>
                  </a:lnTo>
                  <a:lnTo>
                    <a:pt x="86" y="62"/>
                  </a:lnTo>
                  <a:lnTo>
                    <a:pt x="84" y="92"/>
                  </a:lnTo>
                  <a:lnTo>
                    <a:pt x="112" y="93"/>
                  </a:lnTo>
                  <a:lnTo>
                    <a:pt x="83" y="120"/>
                  </a:lnTo>
                  <a:lnTo>
                    <a:pt x="54" y="119"/>
                  </a:lnTo>
                  <a:lnTo>
                    <a:pt x="56" y="90"/>
                  </a:lnTo>
                  <a:lnTo>
                    <a:pt x="28" y="59"/>
                  </a:lnTo>
                  <a:lnTo>
                    <a:pt x="0" y="58"/>
                  </a:lnTo>
                  <a:lnTo>
                    <a:pt x="2" y="29"/>
                  </a:lnTo>
                  <a:lnTo>
                    <a:pt x="4" y="0"/>
                  </a:lnTo>
                  <a:lnTo>
                    <a:pt x="32" y="1"/>
                  </a:lnTo>
                  <a:lnTo>
                    <a:pt x="59" y="31"/>
                  </a:lnTo>
                </a:path>
              </a:pathLst>
            </a:custGeom>
            <a:solidFill>
              <a:srgbClr val="B2C2D1"/>
            </a:solidFill>
            <a:ln w="9525">
              <a:noFill/>
              <a:round/>
              <a:headEnd/>
              <a:tailEnd/>
            </a:ln>
          </p:spPr>
          <p:txBody>
            <a:bodyPr/>
            <a:lstStyle/>
            <a:p>
              <a:endParaRPr lang="el-GR"/>
            </a:p>
          </p:txBody>
        </p:sp>
        <p:sp>
          <p:nvSpPr>
            <p:cNvPr id="312" name="Freeform 189"/>
            <p:cNvSpPr>
              <a:spLocks/>
            </p:cNvSpPr>
            <p:nvPr/>
          </p:nvSpPr>
          <p:spPr bwMode="auto">
            <a:xfrm>
              <a:off x="2090" y="1901"/>
              <a:ext cx="29" cy="28"/>
            </a:xfrm>
            <a:custGeom>
              <a:avLst/>
              <a:gdLst>
                <a:gd name="T0" fmla="*/ 0 w 118"/>
                <a:gd name="T1" fmla="*/ 7 h 115"/>
                <a:gd name="T2" fmla="*/ 2 w 118"/>
                <a:gd name="T3" fmla="*/ 7 h 115"/>
                <a:gd name="T4" fmla="*/ 2 w 118"/>
                <a:gd name="T5" fmla="*/ 3 h 115"/>
                <a:gd name="T6" fmla="*/ 5 w 118"/>
                <a:gd name="T7" fmla="*/ 4 h 115"/>
                <a:gd name="T8" fmla="*/ 5 w 118"/>
                <a:gd name="T9" fmla="*/ 2 h 115"/>
                <a:gd name="T10" fmla="*/ 7 w 118"/>
                <a:gd name="T11" fmla="*/ 2 h 115"/>
                <a:gd name="T12" fmla="*/ 7 w 118"/>
                <a:gd name="T13" fmla="*/ 0 h 115"/>
                <a:gd name="T14" fmla="*/ 2 w 118"/>
                <a:gd name="T15" fmla="*/ 0 h 115"/>
                <a:gd name="T16" fmla="*/ 2 w 118"/>
                <a:gd name="T17" fmla="*/ 3 h 115"/>
                <a:gd name="T18" fmla="*/ 0 w 118"/>
                <a:gd name="T19" fmla="*/ 3 h 115"/>
                <a:gd name="T20" fmla="*/ 0 w 118"/>
                <a:gd name="T21" fmla="*/ 7 h 1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8"/>
                <a:gd name="T34" fmla="*/ 0 h 115"/>
                <a:gd name="T35" fmla="*/ 118 w 118"/>
                <a:gd name="T36" fmla="*/ 115 h 1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8" h="115">
                  <a:moveTo>
                    <a:pt x="0" y="114"/>
                  </a:moveTo>
                  <a:lnTo>
                    <a:pt x="28" y="115"/>
                  </a:lnTo>
                  <a:lnTo>
                    <a:pt x="30" y="58"/>
                  </a:lnTo>
                  <a:lnTo>
                    <a:pt x="88" y="60"/>
                  </a:lnTo>
                  <a:lnTo>
                    <a:pt x="89" y="32"/>
                  </a:lnTo>
                  <a:lnTo>
                    <a:pt x="117" y="33"/>
                  </a:lnTo>
                  <a:lnTo>
                    <a:pt x="118" y="4"/>
                  </a:lnTo>
                  <a:lnTo>
                    <a:pt x="35" y="0"/>
                  </a:lnTo>
                  <a:lnTo>
                    <a:pt x="30" y="58"/>
                  </a:lnTo>
                  <a:lnTo>
                    <a:pt x="2" y="57"/>
                  </a:lnTo>
                  <a:lnTo>
                    <a:pt x="0" y="114"/>
                  </a:lnTo>
                  <a:close/>
                </a:path>
              </a:pathLst>
            </a:custGeom>
            <a:solidFill>
              <a:srgbClr val="B2C2D1"/>
            </a:solidFill>
            <a:ln w="9525">
              <a:noFill/>
              <a:round/>
              <a:headEnd/>
              <a:tailEnd/>
            </a:ln>
          </p:spPr>
          <p:txBody>
            <a:bodyPr/>
            <a:lstStyle/>
            <a:p>
              <a:endParaRPr lang="el-GR"/>
            </a:p>
          </p:txBody>
        </p:sp>
        <p:sp>
          <p:nvSpPr>
            <p:cNvPr id="313" name="Freeform 190"/>
            <p:cNvSpPr>
              <a:spLocks/>
            </p:cNvSpPr>
            <p:nvPr/>
          </p:nvSpPr>
          <p:spPr bwMode="auto">
            <a:xfrm>
              <a:off x="2090" y="1901"/>
              <a:ext cx="29" cy="28"/>
            </a:xfrm>
            <a:custGeom>
              <a:avLst/>
              <a:gdLst>
                <a:gd name="T0" fmla="*/ 0 w 118"/>
                <a:gd name="T1" fmla="*/ 7 h 115"/>
                <a:gd name="T2" fmla="*/ 2 w 118"/>
                <a:gd name="T3" fmla="*/ 7 h 115"/>
                <a:gd name="T4" fmla="*/ 2 w 118"/>
                <a:gd name="T5" fmla="*/ 3 h 115"/>
                <a:gd name="T6" fmla="*/ 5 w 118"/>
                <a:gd name="T7" fmla="*/ 4 h 115"/>
                <a:gd name="T8" fmla="*/ 5 w 118"/>
                <a:gd name="T9" fmla="*/ 2 h 115"/>
                <a:gd name="T10" fmla="*/ 7 w 118"/>
                <a:gd name="T11" fmla="*/ 2 h 115"/>
                <a:gd name="T12" fmla="*/ 7 w 118"/>
                <a:gd name="T13" fmla="*/ 0 h 115"/>
                <a:gd name="T14" fmla="*/ 2 w 118"/>
                <a:gd name="T15" fmla="*/ 0 h 115"/>
                <a:gd name="T16" fmla="*/ 2 w 118"/>
                <a:gd name="T17" fmla="*/ 3 h 115"/>
                <a:gd name="T18" fmla="*/ 0 w 118"/>
                <a:gd name="T19" fmla="*/ 3 h 115"/>
                <a:gd name="T20" fmla="*/ 0 w 118"/>
                <a:gd name="T21" fmla="*/ 7 h 1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8"/>
                <a:gd name="T34" fmla="*/ 0 h 115"/>
                <a:gd name="T35" fmla="*/ 118 w 118"/>
                <a:gd name="T36" fmla="*/ 115 h 1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8" h="115">
                  <a:moveTo>
                    <a:pt x="0" y="114"/>
                  </a:moveTo>
                  <a:lnTo>
                    <a:pt x="28" y="115"/>
                  </a:lnTo>
                  <a:lnTo>
                    <a:pt x="30" y="58"/>
                  </a:lnTo>
                  <a:lnTo>
                    <a:pt x="88" y="60"/>
                  </a:lnTo>
                  <a:lnTo>
                    <a:pt x="89" y="32"/>
                  </a:lnTo>
                  <a:lnTo>
                    <a:pt x="117" y="33"/>
                  </a:lnTo>
                  <a:lnTo>
                    <a:pt x="118" y="4"/>
                  </a:lnTo>
                  <a:lnTo>
                    <a:pt x="35" y="0"/>
                  </a:lnTo>
                  <a:lnTo>
                    <a:pt x="30" y="58"/>
                  </a:lnTo>
                  <a:lnTo>
                    <a:pt x="2" y="57"/>
                  </a:lnTo>
                  <a:lnTo>
                    <a:pt x="0" y="114"/>
                  </a:lnTo>
                </a:path>
              </a:pathLst>
            </a:custGeom>
            <a:solidFill>
              <a:srgbClr val="B2C2D1"/>
            </a:solidFill>
            <a:ln w="9525">
              <a:noFill/>
              <a:round/>
              <a:headEnd/>
              <a:tailEnd/>
            </a:ln>
          </p:spPr>
          <p:txBody>
            <a:bodyPr/>
            <a:lstStyle/>
            <a:p>
              <a:endParaRPr lang="el-GR"/>
            </a:p>
          </p:txBody>
        </p:sp>
        <p:sp>
          <p:nvSpPr>
            <p:cNvPr id="314" name="Freeform 191"/>
            <p:cNvSpPr>
              <a:spLocks/>
            </p:cNvSpPr>
            <p:nvPr/>
          </p:nvSpPr>
          <p:spPr bwMode="auto">
            <a:xfrm>
              <a:off x="2051" y="1893"/>
              <a:ext cx="21" cy="35"/>
            </a:xfrm>
            <a:custGeom>
              <a:avLst/>
              <a:gdLst>
                <a:gd name="T0" fmla="*/ 3 w 86"/>
                <a:gd name="T1" fmla="*/ 3 h 147"/>
                <a:gd name="T2" fmla="*/ 3 w 86"/>
                <a:gd name="T3" fmla="*/ 3 h 147"/>
                <a:gd name="T4" fmla="*/ 5 w 86"/>
                <a:gd name="T5" fmla="*/ 0 h 147"/>
                <a:gd name="T6" fmla="*/ 3 w 86"/>
                <a:gd name="T7" fmla="*/ 0 h 147"/>
                <a:gd name="T8" fmla="*/ 2 w 86"/>
                <a:gd name="T9" fmla="*/ 2 h 147"/>
                <a:gd name="T10" fmla="*/ 2 w 86"/>
                <a:gd name="T11" fmla="*/ 0 h 147"/>
                <a:gd name="T12" fmla="*/ 0 w 86"/>
                <a:gd name="T13" fmla="*/ 1 h 147"/>
                <a:gd name="T14" fmla="*/ 0 w 86"/>
                <a:gd name="T15" fmla="*/ 3 h 147"/>
                <a:gd name="T16" fmla="*/ 1 w 86"/>
                <a:gd name="T17" fmla="*/ 5 h 147"/>
                <a:gd name="T18" fmla="*/ 1 w 86"/>
                <a:gd name="T19" fmla="*/ 7 h 147"/>
                <a:gd name="T20" fmla="*/ 5 w 86"/>
                <a:gd name="T21" fmla="*/ 8 h 147"/>
                <a:gd name="T22" fmla="*/ 5 w 86"/>
                <a:gd name="T23" fmla="*/ 7 h 147"/>
                <a:gd name="T24" fmla="*/ 3 w 86"/>
                <a:gd name="T25" fmla="*/ 5 h 147"/>
                <a:gd name="T26" fmla="*/ 2 w 86"/>
                <a:gd name="T27" fmla="*/ 3 h 147"/>
                <a:gd name="T28" fmla="*/ 3 w 86"/>
                <a:gd name="T29" fmla="*/ 3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6"/>
                <a:gd name="T46" fmla="*/ 0 h 147"/>
                <a:gd name="T47" fmla="*/ 86 w 86"/>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6" h="147">
                  <a:moveTo>
                    <a:pt x="55" y="58"/>
                  </a:moveTo>
                  <a:lnTo>
                    <a:pt x="55" y="58"/>
                  </a:lnTo>
                  <a:lnTo>
                    <a:pt x="86" y="2"/>
                  </a:lnTo>
                  <a:lnTo>
                    <a:pt x="58" y="1"/>
                  </a:lnTo>
                  <a:lnTo>
                    <a:pt x="29" y="28"/>
                  </a:lnTo>
                  <a:lnTo>
                    <a:pt x="30" y="0"/>
                  </a:lnTo>
                  <a:lnTo>
                    <a:pt x="1" y="27"/>
                  </a:lnTo>
                  <a:lnTo>
                    <a:pt x="0" y="56"/>
                  </a:lnTo>
                  <a:lnTo>
                    <a:pt x="26" y="86"/>
                  </a:lnTo>
                  <a:lnTo>
                    <a:pt x="25" y="116"/>
                  </a:lnTo>
                  <a:lnTo>
                    <a:pt x="79" y="147"/>
                  </a:lnTo>
                  <a:lnTo>
                    <a:pt x="80" y="118"/>
                  </a:lnTo>
                  <a:lnTo>
                    <a:pt x="54" y="88"/>
                  </a:lnTo>
                  <a:lnTo>
                    <a:pt x="27" y="57"/>
                  </a:lnTo>
                  <a:lnTo>
                    <a:pt x="55" y="58"/>
                  </a:lnTo>
                  <a:close/>
                </a:path>
              </a:pathLst>
            </a:custGeom>
            <a:solidFill>
              <a:srgbClr val="B2C2D1"/>
            </a:solidFill>
            <a:ln w="9525">
              <a:noFill/>
              <a:round/>
              <a:headEnd/>
              <a:tailEnd/>
            </a:ln>
          </p:spPr>
          <p:txBody>
            <a:bodyPr/>
            <a:lstStyle/>
            <a:p>
              <a:endParaRPr lang="el-GR"/>
            </a:p>
          </p:txBody>
        </p:sp>
        <p:sp>
          <p:nvSpPr>
            <p:cNvPr id="315" name="Freeform 192"/>
            <p:cNvSpPr>
              <a:spLocks/>
            </p:cNvSpPr>
            <p:nvPr/>
          </p:nvSpPr>
          <p:spPr bwMode="auto">
            <a:xfrm>
              <a:off x="2051" y="1893"/>
              <a:ext cx="21" cy="35"/>
            </a:xfrm>
            <a:custGeom>
              <a:avLst/>
              <a:gdLst>
                <a:gd name="T0" fmla="*/ 3 w 86"/>
                <a:gd name="T1" fmla="*/ 3 h 147"/>
                <a:gd name="T2" fmla="*/ 3 w 86"/>
                <a:gd name="T3" fmla="*/ 3 h 147"/>
                <a:gd name="T4" fmla="*/ 5 w 86"/>
                <a:gd name="T5" fmla="*/ 0 h 147"/>
                <a:gd name="T6" fmla="*/ 3 w 86"/>
                <a:gd name="T7" fmla="*/ 0 h 147"/>
                <a:gd name="T8" fmla="*/ 2 w 86"/>
                <a:gd name="T9" fmla="*/ 2 h 147"/>
                <a:gd name="T10" fmla="*/ 2 w 86"/>
                <a:gd name="T11" fmla="*/ 0 h 147"/>
                <a:gd name="T12" fmla="*/ 0 w 86"/>
                <a:gd name="T13" fmla="*/ 1 h 147"/>
                <a:gd name="T14" fmla="*/ 0 w 86"/>
                <a:gd name="T15" fmla="*/ 3 h 147"/>
                <a:gd name="T16" fmla="*/ 1 w 86"/>
                <a:gd name="T17" fmla="*/ 5 h 147"/>
                <a:gd name="T18" fmla="*/ 1 w 86"/>
                <a:gd name="T19" fmla="*/ 7 h 147"/>
                <a:gd name="T20" fmla="*/ 5 w 86"/>
                <a:gd name="T21" fmla="*/ 8 h 147"/>
                <a:gd name="T22" fmla="*/ 5 w 86"/>
                <a:gd name="T23" fmla="*/ 7 h 147"/>
                <a:gd name="T24" fmla="*/ 3 w 86"/>
                <a:gd name="T25" fmla="*/ 5 h 147"/>
                <a:gd name="T26" fmla="*/ 2 w 86"/>
                <a:gd name="T27" fmla="*/ 3 h 147"/>
                <a:gd name="T28" fmla="*/ 3 w 86"/>
                <a:gd name="T29" fmla="*/ 3 h 1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6"/>
                <a:gd name="T46" fmla="*/ 0 h 147"/>
                <a:gd name="T47" fmla="*/ 86 w 86"/>
                <a:gd name="T48" fmla="*/ 147 h 1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6" h="147">
                  <a:moveTo>
                    <a:pt x="55" y="58"/>
                  </a:moveTo>
                  <a:lnTo>
                    <a:pt x="55" y="58"/>
                  </a:lnTo>
                  <a:lnTo>
                    <a:pt x="86" y="2"/>
                  </a:lnTo>
                  <a:lnTo>
                    <a:pt x="58" y="1"/>
                  </a:lnTo>
                  <a:lnTo>
                    <a:pt x="29" y="28"/>
                  </a:lnTo>
                  <a:lnTo>
                    <a:pt x="30" y="0"/>
                  </a:lnTo>
                  <a:lnTo>
                    <a:pt x="1" y="27"/>
                  </a:lnTo>
                  <a:lnTo>
                    <a:pt x="0" y="56"/>
                  </a:lnTo>
                  <a:lnTo>
                    <a:pt x="26" y="86"/>
                  </a:lnTo>
                  <a:lnTo>
                    <a:pt x="25" y="116"/>
                  </a:lnTo>
                  <a:lnTo>
                    <a:pt x="79" y="147"/>
                  </a:lnTo>
                  <a:lnTo>
                    <a:pt x="80" y="118"/>
                  </a:lnTo>
                  <a:lnTo>
                    <a:pt x="54" y="88"/>
                  </a:lnTo>
                  <a:lnTo>
                    <a:pt x="27" y="57"/>
                  </a:lnTo>
                  <a:lnTo>
                    <a:pt x="55" y="58"/>
                  </a:lnTo>
                </a:path>
              </a:pathLst>
            </a:custGeom>
            <a:solidFill>
              <a:srgbClr val="B2C2D1"/>
            </a:solidFill>
            <a:ln w="9525">
              <a:noFill/>
              <a:round/>
              <a:headEnd/>
              <a:tailEnd/>
            </a:ln>
          </p:spPr>
          <p:txBody>
            <a:bodyPr/>
            <a:lstStyle/>
            <a:p>
              <a:endParaRPr lang="el-GR"/>
            </a:p>
          </p:txBody>
        </p:sp>
        <p:sp>
          <p:nvSpPr>
            <p:cNvPr id="316" name="Freeform 193"/>
            <p:cNvSpPr>
              <a:spLocks/>
            </p:cNvSpPr>
            <p:nvPr/>
          </p:nvSpPr>
          <p:spPr bwMode="auto">
            <a:xfrm>
              <a:off x="1908" y="1689"/>
              <a:ext cx="13" cy="14"/>
            </a:xfrm>
            <a:custGeom>
              <a:avLst/>
              <a:gdLst>
                <a:gd name="T0" fmla="*/ 2 w 57"/>
                <a:gd name="T1" fmla="*/ 0 h 59"/>
                <a:gd name="T2" fmla="*/ 3 w 57"/>
                <a:gd name="T3" fmla="*/ 2 h 59"/>
                <a:gd name="T4" fmla="*/ 1 w 57"/>
                <a:gd name="T5" fmla="*/ 3 h 59"/>
                <a:gd name="T6" fmla="*/ 0 w 57"/>
                <a:gd name="T7" fmla="*/ 0 h 59"/>
                <a:gd name="T8" fmla="*/ 2 w 57"/>
                <a:gd name="T9" fmla="*/ 0 h 59"/>
                <a:gd name="T10" fmla="*/ 0 60000 65536"/>
                <a:gd name="T11" fmla="*/ 0 60000 65536"/>
                <a:gd name="T12" fmla="*/ 0 60000 65536"/>
                <a:gd name="T13" fmla="*/ 0 60000 65536"/>
                <a:gd name="T14" fmla="*/ 0 60000 65536"/>
                <a:gd name="T15" fmla="*/ 0 w 57"/>
                <a:gd name="T16" fmla="*/ 0 h 59"/>
                <a:gd name="T17" fmla="*/ 57 w 57"/>
                <a:gd name="T18" fmla="*/ 59 h 59"/>
              </a:gdLst>
              <a:ahLst/>
              <a:cxnLst>
                <a:cxn ang="T10">
                  <a:pos x="T0" y="T1"/>
                </a:cxn>
                <a:cxn ang="T11">
                  <a:pos x="T2" y="T3"/>
                </a:cxn>
                <a:cxn ang="T12">
                  <a:pos x="T4" y="T5"/>
                </a:cxn>
                <a:cxn ang="T13">
                  <a:pos x="T6" y="T7"/>
                </a:cxn>
                <a:cxn ang="T14">
                  <a:pos x="T8" y="T9"/>
                </a:cxn>
              </a:cxnLst>
              <a:rect l="T15" t="T16" r="T17" b="T18"/>
              <a:pathLst>
                <a:path w="57" h="59">
                  <a:moveTo>
                    <a:pt x="29" y="1"/>
                  </a:moveTo>
                  <a:lnTo>
                    <a:pt x="57" y="32"/>
                  </a:lnTo>
                  <a:lnTo>
                    <a:pt x="27" y="59"/>
                  </a:lnTo>
                  <a:lnTo>
                    <a:pt x="0" y="0"/>
                  </a:lnTo>
                  <a:lnTo>
                    <a:pt x="29" y="1"/>
                  </a:lnTo>
                  <a:close/>
                </a:path>
              </a:pathLst>
            </a:custGeom>
            <a:solidFill>
              <a:srgbClr val="B2C2D1"/>
            </a:solidFill>
            <a:ln w="9525">
              <a:noFill/>
              <a:round/>
              <a:headEnd/>
              <a:tailEnd/>
            </a:ln>
          </p:spPr>
          <p:txBody>
            <a:bodyPr/>
            <a:lstStyle/>
            <a:p>
              <a:endParaRPr lang="el-GR"/>
            </a:p>
          </p:txBody>
        </p:sp>
        <p:sp>
          <p:nvSpPr>
            <p:cNvPr id="317" name="Freeform 194"/>
            <p:cNvSpPr>
              <a:spLocks/>
            </p:cNvSpPr>
            <p:nvPr/>
          </p:nvSpPr>
          <p:spPr bwMode="auto">
            <a:xfrm>
              <a:off x="1908" y="1689"/>
              <a:ext cx="13" cy="14"/>
            </a:xfrm>
            <a:custGeom>
              <a:avLst/>
              <a:gdLst>
                <a:gd name="T0" fmla="*/ 2 w 57"/>
                <a:gd name="T1" fmla="*/ 0 h 59"/>
                <a:gd name="T2" fmla="*/ 3 w 57"/>
                <a:gd name="T3" fmla="*/ 2 h 59"/>
                <a:gd name="T4" fmla="*/ 1 w 57"/>
                <a:gd name="T5" fmla="*/ 3 h 59"/>
                <a:gd name="T6" fmla="*/ 0 w 57"/>
                <a:gd name="T7" fmla="*/ 0 h 59"/>
                <a:gd name="T8" fmla="*/ 2 w 57"/>
                <a:gd name="T9" fmla="*/ 0 h 59"/>
                <a:gd name="T10" fmla="*/ 0 60000 65536"/>
                <a:gd name="T11" fmla="*/ 0 60000 65536"/>
                <a:gd name="T12" fmla="*/ 0 60000 65536"/>
                <a:gd name="T13" fmla="*/ 0 60000 65536"/>
                <a:gd name="T14" fmla="*/ 0 60000 65536"/>
                <a:gd name="T15" fmla="*/ 0 w 57"/>
                <a:gd name="T16" fmla="*/ 0 h 59"/>
                <a:gd name="T17" fmla="*/ 57 w 57"/>
                <a:gd name="T18" fmla="*/ 59 h 59"/>
              </a:gdLst>
              <a:ahLst/>
              <a:cxnLst>
                <a:cxn ang="T10">
                  <a:pos x="T0" y="T1"/>
                </a:cxn>
                <a:cxn ang="T11">
                  <a:pos x="T2" y="T3"/>
                </a:cxn>
                <a:cxn ang="T12">
                  <a:pos x="T4" y="T5"/>
                </a:cxn>
                <a:cxn ang="T13">
                  <a:pos x="T6" y="T7"/>
                </a:cxn>
                <a:cxn ang="T14">
                  <a:pos x="T8" y="T9"/>
                </a:cxn>
              </a:cxnLst>
              <a:rect l="T15" t="T16" r="T17" b="T18"/>
              <a:pathLst>
                <a:path w="57" h="59">
                  <a:moveTo>
                    <a:pt x="29" y="1"/>
                  </a:moveTo>
                  <a:lnTo>
                    <a:pt x="57" y="32"/>
                  </a:lnTo>
                  <a:lnTo>
                    <a:pt x="27" y="59"/>
                  </a:lnTo>
                  <a:lnTo>
                    <a:pt x="0" y="0"/>
                  </a:lnTo>
                  <a:lnTo>
                    <a:pt x="29" y="1"/>
                  </a:lnTo>
                </a:path>
              </a:pathLst>
            </a:custGeom>
            <a:solidFill>
              <a:srgbClr val="B2C2D1"/>
            </a:solidFill>
            <a:ln w="9525">
              <a:noFill/>
              <a:round/>
              <a:headEnd/>
              <a:tailEnd/>
            </a:ln>
          </p:spPr>
          <p:txBody>
            <a:bodyPr/>
            <a:lstStyle/>
            <a:p>
              <a:endParaRPr lang="el-GR"/>
            </a:p>
          </p:txBody>
        </p:sp>
        <p:sp>
          <p:nvSpPr>
            <p:cNvPr id="318" name="Freeform 195"/>
            <p:cNvSpPr>
              <a:spLocks/>
            </p:cNvSpPr>
            <p:nvPr/>
          </p:nvSpPr>
          <p:spPr bwMode="auto">
            <a:xfrm>
              <a:off x="3111" y="1823"/>
              <a:ext cx="72" cy="84"/>
            </a:xfrm>
            <a:custGeom>
              <a:avLst/>
              <a:gdLst>
                <a:gd name="T0" fmla="*/ 12 w 305"/>
                <a:gd name="T1" fmla="*/ 19 h 353"/>
                <a:gd name="T2" fmla="*/ 14 w 305"/>
                <a:gd name="T3" fmla="*/ 19 h 353"/>
                <a:gd name="T4" fmla="*/ 17 w 305"/>
                <a:gd name="T5" fmla="*/ 19 h 353"/>
                <a:gd name="T6" fmla="*/ 17 w 305"/>
                <a:gd name="T7" fmla="*/ 15 h 353"/>
                <a:gd name="T8" fmla="*/ 11 w 305"/>
                <a:gd name="T9" fmla="*/ 12 h 353"/>
                <a:gd name="T10" fmla="*/ 11 w 305"/>
                <a:gd name="T11" fmla="*/ 10 h 353"/>
                <a:gd name="T12" fmla="*/ 9 w 305"/>
                <a:gd name="T13" fmla="*/ 10 h 353"/>
                <a:gd name="T14" fmla="*/ 10 w 305"/>
                <a:gd name="T15" fmla="*/ 5 h 353"/>
                <a:gd name="T16" fmla="*/ 7 w 305"/>
                <a:gd name="T17" fmla="*/ 4 h 353"/>
                <a:gd name="T18" fmla="*/ 4 w 305"/>
                <a:gd name="T19" fmla="*/ 0 h 353"/>
                <a:gd name="T20" fmla="*/ 0 w 305"/>
                <a:gd name="T21" fmla="*/ 1 h 353"/>
                <a:gd name="T22" fmla="*/ 0 w 305"/>
                <a:gd name="T23" fmla="*/ 3 h 353"/>
                <a:gd name="T24" fmla="*/ 2 w 305"/>
                <a:gd name="T25" fmla="*/ 5 h 353"/>
                <a:gd name="T26" fmla="*/ 0 w 305"/>
                <a:gd name="T27" fmla="*/ 8 h 353"/>
                <a:gd name="T28" fmla="*/ 0 w 305"/>
                <a:gd name="T29" fmla="*/ 10 h 353"/>
                <a:gd name="T30" fmla="*/ 2 w 305"/>
                <a:gd name="T31" fmla="*/ 10 h 353"/>
                <a:gd name="T32" fmla="*/ 3 w 305"/>
                <a:gd name="T33" fmla="*/ 10 h 353"/>
                <a:gd name="T34" fmla="*/ 1 w 305"/>
                <a:gd name="T35" fmla="*/ 11 h 353"/>
                <a:gd name="T36" fmla="*/ 5 w 305"/>
                <a:gd name="T37" fmla="*/ 12 h 353"/>
                <a:gd name="T38" fmla="*/ 4 w 305"/>
                <a:gd name="T39" fmla="*/ 13 h 353"/>
                <a:gd name="T40" fmla="*/ 6 w 305"/>
                <a:gd name="T41" fmla="*/ 12 h 353"/>
                <a:gd name="T42" fmla="*/ 6 w 305"/>
                <a:gd name="T43" fmla="*/ 13 h 353"/>
                <a:gd name="T44" fmla="*/ 8 w 305"/>
                <a:gd name="T45" fmla="*/ 13 h 353"/>
                <a:gd name="T46" fmla="*/ 8 w 305"/>
                <a:gd name="T47" fmla="*/ 15 h 353"/>
                <a:gd name="T48" fmla="*/ 6 w 305"/>
                <a:gd name="T49" fmla="*/ 17 h 353"/>
                <a:gd name="T50" fmla="*/ 6 w 305"/>
                <a:gd name="T51" fmla="*/ 18 h 353"/>
                <a:gd name="T52" fmla="*/ 7 w 305"/>
                <a:gd name="T53" fmla="*/ 18 h 353"/>
                <a:gd name="T54" fmla="*/ 7 w 305"/>
                <a:gd name="T55" fmla="*/ 20 h 353"/>
                <a:gd name="T56" fmla="*/ 9 w 305"/>
                <a:gd name="T57" fmla="*/ 20 h 353"/>
                <a:gd name="T58" fmla="*/ 7 w 305"/>
                <a:gd name="T59" fmla="*/ 18 h 353"/>
                <a:gd name="T60" fmla="*/ 9 w 305"/>
                <a:gd name="T61" fmla="*/ 17 h 353"/>
                <a:gd name="T62" fmla="*/ 12 w 305"/>
                <a:gd name="T63" fmla="*/ 19 h 3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353"/>
                <a:gd name="T98" fmla="*/ 305 w 305"/>
                <a:gd name="T99" fmla="*/ 353 h 3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353">
                  <a:moveTo>
                    <a:pt x="218" y="327"/>
                  </a:moveTo>
                  <a:lnTo>
                    <a:pt x="246" y="328"/>
                  </a:lnTo>
                  <a:lnTo>
                    <a:pt x="302" y="332"/>
                  </a:lnTo>
                  <a:lnTo>
                    <a:pt x="305" y="273"/>
                  </a:lnTo>
                  <a:lnTo>
                    <a:pt x="195" y="210"/>
                  </a:lnTo>
                  <a:lnTo>
                    <a:pt x="197" y="181"/>
                  </a:lnTo>
                  <a:lnTo>
                    <a:pt x="169" y="180"/>
                  </a:lnTo>
                  <a:lnTo>
                    <a:pt x="174" y="92"/>
                  </a:lnTo>
                  <a:lnTo>
                    <a:pt x="118" y="61"/>
                  </a:lnTo>
                  <a:lnTo>
                    <a:pt x="66" y="0"/>
                  </a:lnTo>
                  <a:lnTo>
                    <a:pt x="8" y="26"/>
                  </a:lnTo>
                  <a:lnTo>
                    <a:pt x="7" y="55"/>
                  </a:lnTo>
                  <a:lnTo>
                    <a:pt x="33" y="85"/>
                  </a:lnTo>
                  <a:lnTo>
                    <a:pt x="1" y="142"/>
                  </a:lnTo>
                  <a:lnTo>
                    <a:pt x="0" y="170"/>
                  </a:lnTo>
                  <a:lnTo>
                    <a:pt x="28" y="173"/>
                  </a:lnTo>
                  <a:lnTo>
                    <a:pt x="57" y="174"/>
                  </a:lnTo>
                  <a:lnTo>
                    <a:pt x="27" y="201"/>
                  </a:lnTo>
                  <a:lnTo>
                    <a:pt x="84" y="204"/>
                  </a:lnTo>
                  <a:lnTo>
                    <a:pt x="81" y="233"/>
                  </a:lnTo>
                  <a:lnTo>
                    <a:pt x="111" y="206"/>
                  </a:lnTo>
                  <a:lnTo>
                    <a:pt x="110" y="235"/>
                  </a:lnTo>
                  <a:lnTo>
                    <a:pt x="138" y="236"/>
                  </a:lnTo>
                  <a:lnTo>
                    <a:pt x="137" y="266"/>
                  </a:lnTo>
                  <a:lnTo>
                    <a:pt x="106" y="293"/>
                  </a:lnTo>
                  <a:lnTo>
                    <a:pt x="105" y="322"/>
                  </a:lnTo>
                  <a:lnTo>
                    <a:pt x="133" y="323"/>
                  </a:lnTo>
                  <a:lnTo>
                    <a:pt x="131" y="352"/>
                  </a:lnTo>
                  <a:lnTo>
                    <a:pt x="159" y="353"/>
                  </a:lnTo>
                  <a:lnTo>
                    <a:pt x="133" y="323"/>
                  </a:lnTo>
                  <a:lnTo>
                    <a:pt x="163" y="296"/>
                  </a:lnTo>
                  <a:lnTo>
                    <a:pt x="218" y="327"/>
                  </a:lnTo>
                  <a:close/>
                </a:path>
              </a:pathLst>
            </a:custGeom>
            <a:solidFill>
              <a:srgbClr val="B2C2D1"/>
            </a:solidFill>
            <a:ln w="9525">
              <a:noFill/>
              <a:round/>
              <a:headEnd/>
              <a:tailEnd/>
            </a:ln>
          </p:spPr>
          <p:txBody>
            <a:bodyPr/>
            <a:lstStyle/>
            <a:p>
              <a:endParaRPr lang="el-GR"/>
            </a:p>
          </p:txBody>
        </p:sp>
        <p:sp>
          <p:nvSpPr>
            <p:cNvPr id="319" name="Freeform 196"/>
            <p:cNvSpPr>
              <a:spLocks/>
            </p:cNvSpPr>
            <p:nvPr/>
          </p:nvSpPr>
          <p:spPr bwMode="auto">
            <a:xfrm>
              <a:off x="3111" y="1823"/>
              <a:ext cx="72" cy="84"/>
            </a:xfrm>
            <a:custGeom>
              <a:avLst/>
              <a:gdLst>
                <a:gd name="T0" fmla="*/ 12 w 305"/>
                <a:gd name="T1" fmla="*/ 19 h 353"/>
                <a:gd name="T2" fmla="*/ 14 w 305"/>
                <a:gd name="T3" fmla="*/ 19 h 353"/>
                <a:gd name="T4" fmla="*/ 17 w 305"/>
                <a:gd name="T5" fmla="*/ 19 h 353"/>
                <a:gd name="T6" fmla="*/ 17 w 305"/>
                <a:gd name="T7" fmla="*/ 15 h 353"/>
                <a:gd name="T8" fmla="*/ 11 w 305"/>
                <a:gd name="T9" fmla="*/ 12 h 353"/>
                <a:gd name="T10" fmla="*/ 11 w 305"/>
                <a:gd name="T11" fmla="*/ 10 h 353"/>
                <a:gd name="T12" fmla="*/ 9 w 305"/>
                <a:gd name="T13" fmla="*/ 10 h 353"/>
                <a:gd name="T14" fmla="*/ 10 w 305"/>
                <a:gd name="T15" fmla="*/ 5 h 353"/>
                <a:gd name="T16" fmla="*/ 7 w 305"/>
                <a:gd name="T17" fmla="*/ 4 h 353"/>
                <a:gd name="T18" fmla="*/ 4 w 305"/>
                <a:gd name="T19" fmla="*/ 0 h 353"/>
                <a:gd name="T20" fmla="*/ 0 w 305"/>
                <a:gd name="T21" fmla="*/ 1 h 353"/>
                <a:gd name="T22" fmla="*/ 0 w 305"/>
                <a:gd name="T23" fmla="*/ 3 h 353"/>
                <a:gd name="T24" fmla="*/ 2 w 305"/>
                <a:gd name="T25" fmla="*/ 5 h 353"/>
                <a:gd name="T26" fmla="*/ 0 w 305"/>
                <a:gd name="T27" fmla="*/ 8 h 353"/>
                <a:gd name="T28" fmla="*/ 0 w 305"/>
                <a:gd name="T29" fmla="*/ 10 h 353"/>
                <a:gd name="T30" fmla="*/ 2 w 305"/>
                <a:gd name="T31" fmla="*/ 10 h 353"/>
                <a:gd name="T32" fmla="*/ 3 w 305"/>
                <a:gd name="T33" fmla="*/ 10 h 353"/>
                <a:gd name="T34" fmla="*/ 1 w 305"/>
                <a:gd name="T35" fmla="*/ 11 h 353"/>
                <a:gd name="T36" fmla="*/ 5 w 305"/>
                <a:gd name="T37" fmla="*/ 12 h 353"/>
                <a:gd name="T38" fmla="*/ 4 w 305"/>
                <a:gd name="T39" fmla="*/ 13 h 353"/>
                <a:gd name="T40" fmla="*/ 6 w 305"/>
                <a:gd name="T41" fmla="*/ 12 h 353"/>
                <a:gd name="T42" fmla="*/ 6 w 305"/>
                <a:gd name="T43" fmla="*/ 13 h 353"/>
                <a:gd name="T44" fmla="*/ 8 w 305"/>
                <a:gd name="T45" fmla="*/ 13 h 353"/>
                <a:gd name="T46" fmla="*/ 8 w 305"/>
                <a:gd name="T47" fmla="*/ 15 h 353"/>
                <a:gd name="T48" fmla="*/ 6 w 305"/>
                <a:gd name="T49" fmla="*/ 17 h 353"/>
                <a:gd name="T50" fmla="*/ 6 w 305"/>
                <a:gd name="T51" fmla="*/ 18 h 353"/>
                <a:gd name="T52" fmla="*/ 7 w 305"/>
                <a:gd name="T53" fmla="*/ 18 h 353"/>
                <a:gd name="T54" fmla="*/ 7 w 305"/>
                <a:gd name="T55" fmla="*/ 20 h 353"/>
                <a:gd name="T56" fmla="*/ 9 w 305"/>
                <a:gd name="T57" fmla="*/ 20 h 353"/>
                <a:gd name="T58" fmla="*/ 7 w 305"/>
                <a:gd name="T59" fmla="*/ 18 h 353"/>
                <a:gd name="T60" fmla="*/ 9 w 305"/>
                <a:gd name="T61" fmla="*/ 17 h 353"/>
                <a:gd name="T62" fmla="*/ 12 w 305"/>
                <a:gd name="T63" fmla="*/ 19 h 35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05"/>
                <a:gd name="T97" fmla="*/ 0 h 353"/>
                <a:gd name="T98" fmla="*/ 305 w 305"/>
                <a:gd name="T99" fmla="*/ 353 h 35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05" h="353">
                  <a:moveTo>
                    <a:pt x="218" y="327"/>
                  </a:moveTo>
                  <a:lnTo>
                    <a:pt x="246" y="328"/>
                  </a:lnTo>
                  <a:lnTo>
                    <a:pt x="302" y="332"/>
                  </a:lnTo>
                  <a:lnTo>
                    <a:pt x="305" y="273"/>
                  </a:lnTo>
                  <a:lnTo>
                    <a:pt x="195" y="210"/>
                  </a:lnTo>
                  <a:lnTo>
                    <a:pt x="197" y="181"/>
                  </a:lnTo>
                  <a:lnTo>
                    <a:pt x="169" y="180"/>
                  </a:lnTo>
                  <a:lnTo>
                    <a:pt x="174" y="92"/>
                  </a:lnTo>
                  <a:lnTo>
                    <a:pt x="118" y="61"/>
                  </a:lnTo>
                  <a:lnTo>
                    <a:pt x="66" y="0"/>
                  </a:lnTo>
                  <a:lnTo>
                    <a:pt x="8" y="26"/>
                  </a:lnTo>
                  <a:lnTo>
                    <a:pt x="7" y="55"/>
                  </a:lnTo>
                  <a:lnTo>
                    <a:pt x="33" y="85"/>
                  </a:lnTo>
                  <a:lnTo>
                    <a:pt x="1" y="142"/>
                  </a:lnTo>
                  <a:lnTo>
                    <a:pt x="0" y="170"/>
                  </a:lnTo>
                  <a:lnTo>
                    <a:pt x="28" y="173"/>
                  </a:lnTo>
                  <a:lnTo>
                    <a:pt x="57" y="174"/>
                  </a:lnTo>
                  <a:lnTo>
                    <a:pt x="27" y="201"/>
                  </a:lnTo>
                  <a:lnTo>
                    <a:pt x="84" y="204"/>
                  </a:lnTo>
                  <a:lnTo>
                    <a:pt x="81" y="233"/>
                  </a:lnTo>
                  <a:lnTo>
                    <a:pt x="111" y="206"/>
                  </a:lnTo>
                  <a:lnTo>
                    <a:pt x="110" y="235"/>
                  </a:lnTo>
                  <a:lnTo>
                    <a:pt x="138" y="236"/>
                  </a:lnTo>
                  <a:lnTo>
                    <a:pt x="137" y="266"/>
                  </a:lnTo>
                  <a:lnTo>
                    <a:pt x="106" y="293"/>
                  </a:lnTo>
                  <a:lnTo>
                    <a:pt x="105" y="322"/>
                  </a:lnTo>
                  <a:lnTo>
                    <a:pt x="133" y="323"/>
                  </a:lnTo>
                  <a:lnTo>
                    <a:pt x="131" y="352"/>
                  </a:lnTo>
                  <a:lnTo>
                    <a:pt x="159" y="353"/>
                  </a:lnTo>
                  <a:lnTo>
                    <a:pt x="133" y="323"/>
                  </a:lnTo>
                  <a:lnTo>
                    <a:pt x="163" y="296"/>
                  </a:lnTo>
                  <a:lnTo>
                    <a:pt x="218" y="327"/>
                  </a:lnTo>
                </a:path>
              </a:pathLst>
            </a:custGeom>
            <a:solidFill>
              <a:srgbClr val="B2C2D1"/>
            </a:solidFill>
            <a:ln w="9525">
              <a:noFill/>
              <a:round/>
              <a:headEnd/>
              <a:tailEnd/>
            </a:ln>
          </p:spPr>
          <p:txBody>
            <a:bodyPr/>
            <a:lstStyle/>
            <a:p>
              <a:endParaRPr lang="el-GR"/>
            </a:p>
          </p:txBody>
        </p:sp>
        <p:sp>
          <p:nvSpPr>
            <p:cNvPr id="320" name="Freeform 197"/>
            <p:cNvSpPr>
              <a:spLocks/>
            </p:cNvSpPr>
            <p:nvPr/>
          </p:nvSpPr>
          <p:spPr bwMode="auto">
            <a:xfrm>
              <a:off x="2698" y="2449"/>
              <a:ext cx="27" cy="15"/>
            </a:xfrm>
            <a:custGeom>
              <a:avLst/>
              <a:gdLst>
                <a:gd name="T0" fmla="*/ 0 w 112"/>
                <a:gd name="T1" fmla="*/ 0 h 62"/>
                <a:gd name="T2" fmla="*/ 3 w 112"/>
                <a:gd name="T3" fmla="*/ 0 h 62"/>
                <a:gd name="T4" fmla="*/ 7 w 112"/>
                <a:gd name="T5" fmla="*/ 2 h 62"/>
                <a:gd name="T6" fmla="*/ 5 w 112"/>
                <a:gd name="T7" fmla="*/ 4 h 62"/>
                <a:gd name="T8" fmla="*/ 3 w 112"/>
                <a:gd name="T9" fmla="*/ 4 h 62"/>
                <a:gd name="T10" fmla="*/ 1 w 112"/>
                <a:gd name="T11" fmla="*/ 3 h 62"/>
                <a:gd name="T12" fmla="*/ 2 w 112"/>
                <a:gd name="T13" fmla="*/ 2 h 62"/>
                <a:gd name="T14" fmla="*/ 0 w 112"/>
                <a:gd name="T15" fmla="*/ 2 h 62"/>
                <a:gd name="T16" fmla="*/ 0 w 112"/>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62"/>
                <a:gd name="T29" fmla="*/ 112 w 112"/>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62">
                  <a:moveTo>
                    <a:pt x="1" y="0"/>
                  </a:moveTo>
                  <a:lnTo>
                    <a:pt x="57" y="3"/>
                  </a:lnTo>
                  <a:lnTo>
                    <a:pt x="112" y="34"/>
                  </a:lnTo>
                  <a:lnTo>
                    <a:pt x="82" y="62"/>
                  </a:lnTo>
                  <a:lnTo>
                    <a:pt x="54" y="60"/>
                  </a:lnTo>
                  <a:lnTo>
                    <a:pt x="26" y="59"/>
                  </a:lnTo>
                  <a:lnTo>
                    <a:pt x="28" y="30"/>
                  </a:lnTo>
                  <a:lnTo>
                    <a:pt x="0" y="29"/>
                  </a:lnTo>
                  <a:lnTo>
                    <a:pt x="1" y="0"/>
                  </a:lnTo>
                  <a:close/>
                </a:path>
              </a:pathLst>
            </a:custGeom>
            <a:solidFill>
              <a:srgbClr val="B2C2D1"/>
            </a:solidFill>
            <a:ln w="9525">
              <a:noFill/>
              <a:round/>
              <a:headEnd/>
              <a:tailEnd/>
            </a:ln>
          </p:spPr>
          <p:txBody>
            <a:bodyPr/>
            <a:lstStyle/>
            <a:p>
              <a:endParaRPr lang="el-GR"/>
            </a:p>
          </p:txBody>
        </p:sp>
        <p:sp>
          <p:nvSpPr>
            <p:cNvPr id="321" name="Freeform 198"/>
            <p:cNvSpPr>
              <a:spLocks/>
            </p:cNvSpPr>
            <p:nvPr/>
          </p:nvSpPr>
          <p:spPr bwMode="auto">
            <a:xfrm>
              <a:off x="2698" y="2449"/>
              <a:ext cx="27" cy="15"/>
            </a:xfrm>
            <a:custGeom>
              <a:avLst/>
              <a:gdLst>
                <a:gd name="T0" fmla="*/ 0 w 112"/>
                <a:gd name="T1" fmla="*/ 0 h 62"/>
                <a:gd name="T2" fmla="*/ 3 w 112"/>
                <a:gd name="T3" fmla="*/ 0 h 62"/>
                <a:gd name="T4" fmla="*/ 7 w 112"/>
                <a:gd name="T5" fmla="*/ 2 h 62"/>
                <a:gd name="T6" fmla="*/ 5 w 112"/>
                <a:gd name="T7" fmla="*/ 4 h 62"/>
                <a:gd name="T8" fmla="*/ 3 w 112"/>
                <a:gd name="T9" fmla="*/ 4 h 62"/>
                <a:gd name="T10" fmla="*/ 1 w 112"/>
                <a:gd name="T11" fmla="*/ 3 h 62"/>
                <a:gd name="T12" fmla="*/ 2 w 112"/>
                <a:gd name="T13" fmla="*/ 2 h 62"/>
                <a:gd name="T14" fmla="*/ 0 w 112"/>
                <a:gd name="T15" fmla="*/ 2 h 62"/>
                <a:gd name="T16" fmla="*/ 0 w 112"/>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2"/>
                <a:gd name="T28" fmla="*/ 0 h 62"/>
                <a:gd name="T29" fmla="*/ 112 w 112"/>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2" h="62">
                  <a:moveTo>
                    <a:pt x="1" y="0"/>
                  </a:moveTo>
                  <a:lnTo>
                    <a:pt x="57" y="3"/>
                  </a:lnTo>
                  <a:lnTo>
                    <a:pt x="112" y="34"/>
                  </a:lnTo>
                  <a:lnTo>
                    <a:pt x="82" y="62"/>
                  </a:lnTo>
                  <a:lnTo>
                    <a:pt x="54" y="60"/>
                  </a:lnTo>
                  <a:lnTo>
                    <a:pt x="26" y="59"/>
                  </a:lnTo>
                  <a:lnTo>
                    <a:pt x="28" y="30"/>
                  </a:lnTo>
                  <a:lnTo>
                    <a:pt x="0" y="29"/>
                  </a:lnTo>
                  <a:lnTo>
                    <a:pt x="1" y="0"/>
                  </a:lnTo>
                </a:path>
              </a:pathLst>
            </a:custGeom>
            <a:solidFill>
              <a:srgbClr val="B2C2D1"/>
            </a:solidFill>
            <a:ln w="9525">
              <a:noFill/>
              <a:round/>
              <a:headEnd/>
              <a:tailEnd/>
            </a:ln>
          </p:spPr>
          <p:txBody>
            <a:bodyPr/>
            <a:lstStyle/>
            <a:p>
              <a:endParaRPr lang="el-GR"/>
            </a:p>
          </p:txBody>
        </p:sp>
        <p:sp>
          <p:nvSpPr>
            <p:cNvPr id="322" name="Freeform 199"/>
            <p:cNvSpPr>
              <a:spLocks/>
            </p:cNvSpPr>
            <p:nvPr/>
          </p:nvSpPr>
          <p:spPr bwMode="auto">
            <a:xfrm>
              <a:off x="2313" y="2625"/>
              <a:ext cx="14" cy="28"/>
            </a:xfrm>
            <a:custGeom>
              <a:avLst/>
              <a:gdLst>
                <a:gd name="T0" fmla="*/ 0 w 58"/>
                <a:gd name="T1" fmla="*/ 7 h 116"/>
                <a:gd name="T2" fmla="*/ 2 w 58"/>
                <a:gd name="T3" fmla="*/ 3 h 116"/>
                <a:gd name="T4" fmla="*/ 3 w 58"/>
                <a:gd name="T5" fmla="*/ 2 h 116"/>
                <a:gd name="T6" fmla="*/ 0 w 58"/>
                <a:gd name="T7" fmla="*/ 0 h 116"/>
                <a:gd name="T8" fmla="*/ 0 w 58"/>
                <a:gd name="T9" fmla="*/ 3 h 116"/>
                <a:gd name="T10" fmla="*/ 0 w 58"/>
                <a:gd name="T11" fmla="*/ 5 h 116"/>
                <a:gd name="T12" fmla="*/ 0 w 58"/>
                <a:gd name="T13" fmla="*/ 7 h 116"/>
                <a:gd name="T14" fmla="*/ 0 60000 65536"/>
                <a:gd name="T15" fmla="*/ 0 60000 65536"/>
                <a:gd name="T16" fmla="*/ 0 60000 65536"/>
                <a:gd name="T17" fmla="*/ 0 60000 65536"/>
                <a:gd name="T18" fmla="*/ 0 60000 65536"/>
                <a:gd name="T19" fmla="*/ 0 60000 65536"/>
                <a:gd name="T20" fmla="*/ 0 60000 65536"/>
                <a:gd name="T21" fmla="*/ 0 w 58"/>
                <a:gd name="T22" fmla="*/ 0 h 116"/>
                <a:gd name="T23" fmla="*/ 58 w 58"/>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16">
                  <a:moveTo>
                    <a:pt x="0" y="116"/>
                  </a:moveTo>
                  <a:lnTo>
                    <a:pt x="29" y="60"/>
                  </a:lnTo>
                  <a:lnTo>
                    <a:pt x="58" y="31"/>
                  </a:lnTo>
                  <a:lnTo>
                    <a:pt x="5" y="0"/>
                  </a:lnTo>
                  <a:lnTo>
                    <a:pt x="2" y="58"/>
                  </a:lnTo>
                  <a:lnTo>
                    <a:pt x="1" y="87"/>
                  </a:lnTo>
                  <a:lnTo>
                    <a:pt x="0" y="116"/>
                  </a:lnTo>
                  <a:close/>
                </a:path>
              </a:pathLst>
            </a:custGeom>
            <a:solidFill>
              <a:srgbClr val="B2C2D1"/>
            </a:solidFill>
            <a:ln w="9525">
              <a:noFill/>
              <a:round/>
              <a:headEnd/>
              <a:tailEnd/>
            </a:ln>
          </p:spPr>
          <p:txBody>
            <a:bodyPr/>
            <a:lstStyle/>
            <a:p>
              <a:endParaRPr lang="el-GR"/>
            </a:p>
          </p:txBody>
        </p:sp>
        <p:sp>
          <p:nvSpPr>
            <p:cNvPr id="323" name="Freeform 200"/>
            <p:cNvSpPr>
              <a:spLocks/>
            </p:cNvSpPr>
            <p:nvPr/>
          </p:nvSpPr>
          <p:spPr bwMode="auto">
            <a:xfrm>
              <a:off x="2313" y="2625"/>
              <a:ext cx="14" cy="28"/>
            </a:xfrm>
            <a:custGeom>
              <a:avLst/>
              <a:gdLst>
                <a:gd name="T0" fmla="*/ 0 w 58"/>
                <a:gd name="T1" fmla="*/ 7 h 116"/>
                <a:gd name="T2" fmla="*/ 2 w 58"/>
                <a:gd name="T3" fmla="*/ 3 h 116"/>
                <a:gd name="T4" fmla="*/ 3 w 58"/>
                <a:gd name="T5" fmla="*/ 2 h 116"/>
                <a:gd name="T6" fmla="*/ 0 w 58"/>
                <a:gd name="T7" fmla="*/ 0 h 116"/>
                <a:gd name="T8" fmla="*/ 0 w 58"/>
                <a:gd name="T9" fmla="*/ 3 h 116"/>
                <a:gd name="T10" fmla="*/ 0 w 58"/>
                <a:gd name="T11" fmla="*/ 5 h 116"/>
                <a:gd name="T12" fmla="*/ 0 w 58"/>
                <a:gd name="T13" fmla="*/ 7 h 116"/>
                <a:gd name="T14" fmla="*/ 0 60000 65536"/>
                <a:gd name="T15" fmla="*/ 0 60000 65536"/>
                <a:gd name="T16" fmla="*/ 0 60000 65536"/>
                <a:gd name="T17" fmla="*/ 0 60000 65536"/>
                <a:gd name="T18" fmla="*/ 0 60000 65536"/>
                <a:gd name="T19" fmla="*/ 0 60000 65536"/>
                <a:gd name="T20" fmla="*/ 0 60000 65536"/>
                <a:gd name="T21" fmla="*/ 0 w 58"/>
                <a:gd name="T22" fmla="*/ 0 h 116"/>
                <a:gd name="T23" fmla="*/ 58 w 58"/>
                <a:gd name="T24" fmla="*/ 116 h 1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116">
                  <a:moveTo>
                    <a:pt x="0" y="116"/>
                  </a:moveTo>
                  <a:lnTo>
                    <a:pt x="29" y="60"/>
                  </a:lnTo>
                  <a:lnTo>
                    <a:pt x="58" y="31"/>
                  </a:lnTo>
                  <a:lnTo>
                    <a:pt x="5" y="0"/>
                  </a:lnTo>
                  <a:lnTo>
                    <a:pt x="2" y="58"/>
                  </a:lnTo>
                  <a:lnTo>
                    <a:pt x="1" y="87"/>
                  </a:lnTo>
                  <a:lnTo>
                    <a:pt x="0" y="116"/>
                  </a:lnTo>
                </a:path>
              </a:pathLst>
            </a:custGeom>
            <a:solidFill>
              <a:srgbClr val="B2C2D1"/>
            </a:solidFill>
            <a:ln w="9525">
              <a:noFill/>
              <a:round/>
              <a:headEnd/>
              <a:tailEnd/>
            </a:ln>
          </p:spPr>
          <p:txBody>
            <a:bodyPr/>
            <a:lstStyle/>
            <a:p>
              <a:endParaRPr lang="el-GR"/>
            </a:p>
          </p:txBody>
        </p:sp>
        <p:sp>
          <p:nvSpPr>
            <p:cNvPr id="324" name="Freeform 201"/>
            <p:cNvSpPr>
              <a:spLocks/>
            </p:cNvSpPr>
            <p:nvPr/>
          </p:nvSpPr>
          <p:spPr bwMode="auto">
            <a:xfrm>
              <a:off x="2294" y="2610"/>
              <a:ext cx="14" cy="28"/>
            </a:xfrm>
            <a:custGeom>
              <a:avLst/>
              <a:gdLst>
                <a:gd name="T0" fmla="*/ 0 w 59"/>
                <a:gd name="T1" fmla="*/ 0 h 116"/>
                <a:gd name="T2" fmla="*/ 2 w 59"/>
                <a:gd name="T3" fmla="*/ 2 h 116"/>
                <a:gd name="T4" fmla="*/ 3 w 59"/>
                <a:gd name="T5" fmla="*/ 2 h 116"/>
                <a:gd name="T6" fmla="*/ 3 w 59"/>
                <a:gd name="T7" fmla="*/ 4 h 116"/>
                <a:gd name="T8" fmla="*/ 2 w 59"/>
                <a:gd name="T9" fmla="*/ 3 h 116"/>
                <a:gd name="T10" fmla="*/ 0 w 59"/>
                <a:gd name="T11" fmla="*/ 7 h 116"/>
                <a:gd name="T12" fmla="*/ 0 w 59"/>
                <a:gd name="T13" fmla="*/ 5 h 116"/>
                <a:gd name="T14" fmla="*/ 0 w 59"/>
                <a:gd name="T15" fmla="*/ 3 h 116"/>
                <a:gd name="T16" fmla="*/ 0 w 59"/>
                <a:gd name="T17" fmla="*/ 0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16"/>
                <a:gd name="T29" fmla="*/ 59 w 59"/>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16">
                  <a:moveTo>
                    <a:pt x="6" y="0"/>
                  </a:moveTo>
                  <a:lnTo>
                    <a:pt x="32" y="31"/>
                  </a:lnTo>
                  <a:lnTo>
                    <a:pt x="59" y="32"/>
                  </a:lnTo>
                  <a:lnTo>
                    <a:pt x="57" y="61"/>
                  </a:lnTo>
                  <a:lnTo>
                    <a:pt x="30" y="60"/>
                  </a:lnTo>
                  <a:lnTo>
                    <a:pt x="0" y="116"/>
                  </a:lnTo>
                  <a:lnTo>
                    <a:pt x="1" y="87"/>
                  </a:lnTo>
                  <a:lnTo>
                    <a:pt x="3" y="58"/>
                  </a:lnTo>
                  <a:lnTo>
                    <a:pt x="6" y="0"/>
                  </a:lnTo>
                  <a:close/>
                </a:path>
              </a:pathLst>
            </a:custGeom>
            <a:solidFill>
              <a:srgbClr val="B2C2D1"/>
            </a:solidFill>
            <a:ln w="9525">
              <a:noFill/>
              <a:round/>
              <a:headEnd/>
              <a:tailEnd/>
            </a:ln>
          </p:spPr>
          <p:txBody>
            <a:bodyPr/>
            <a:lstStyle/>
            <a:p>
              <a:endParaRPr lang="el-GR"/>
            </a:p>
          </p:txBody>
        </p:sp>
        <p:sp>
          <p:nvSpPr>
            <p:cNvPr id="325" name="Freeform 202"/>
            <p:cNvSpPr>
              <a:spLocks/>
            </p:cNvSpPr>
            <p:nvPr/>
          </p:nvSpPr>
          <p:spPr bwMode="auto">
            <a:xfrm>
              <a:off x="2294" y="2610"/>
              <a:ext cx="14" cy="28"/>
            </a:xfrm>
            <a:custGeom>
              <a:avLst/>
              <a:gdLst>
                <a:gd name="T0" fmla="*/ 0 w 59"/>
                <a:gd name="T1" fmla="*/ 0 h 116"/>
                <a:gd name="T2" fmla="*/ 2 w 59"/>
                <a:gd name="T3" fmla="*/ 2 h 116"/>
                <a:gd name="T4" fmla="*/ 3 w 59"/>
                <a:gd name="T5" fmla="*/ 2 h 116"/>
                <a:gd name="T6" fmla="*/ 3 w 59"/>
                <a:gd name="T7" fmla="*/ 4 h 116"/>
                <a:gd name="T8" fmla="*/ 2 w 59"/>
                <a:gd name="T9" fmla="*/ 3 h 116"/>
                <a:gd name="T10" fmla="*/ 0 w 59"/>
                <a:gd name="T11" fmla="*/ 7 h 116"/>
                <a:gd name="T12" fmla="*/ 0 w 59"/>
                <a:gd name="T13" fmla="*/ 5 h 116"/>
                <a:gd name="T14" fmla="*/ 0 w 59"/>
                <a:gd name="T15" fmla="*/ 3 h 116"/>
                <a:gd name="T16" fmla="*/ 0 w 59"/>
                <a:gd name="T17" fmla="*/ 0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116"/>
                <a:gd name="T29" fmla="*/ 59 w 59"/>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116">
                  <a:moveTo>
                    <a:pt x="6" y="0"/>
                  </a:moveTo>
                  <a:lnTo>
                    <a:pt x="32" y="31"/>
                  </a:lnTo>
                  <a:lnTo>
                    <a:pt x="59" y="32"/>
                  </a:lnTo>
                  <a:lnTo>
                    <a:pt x="57" y="61"/>
                  </a:lnTo>
                  <a:lnTo>
                    <a:pt x="30" y="60"/>
                  </a:lnTo>
                  <a:lnTo>
                    <a:pt x="0" y="116"/>
                  </a:lnTo>
                  <a:lnTo>
                    <a:pt x="1" y="87"/>
                  </a:lnTo>
                  <a:lnTo>
                    <a:pt x="3" y="58"/>
                  </a:lnTo>
                  <a:lnTo>
                    <a:pt x="6" y="0"/>
                  </a:lnTo>
                </a:path>
              </a:pathLst>
            </a:custGeom>
            <a:solidFill>
              <a:srgbClr val="B2C2D1"/>
            </a:solidFill>
            <a:ln w="9525">
              <a:noFill/>
              <a:round/>
              <a:headEnd/>
              <a:tailEnd/>
            </a:ln>
          </p:spPr>
          <p:txBody>
            <a:bodyPr/>
            <a:lstStyle/>
            <a:p>
              <a:endParaRPr lang="el-GR"/>
            </a:p>
          </p:txBody>
        </p:sp>
      </p:grpSp>
      <p:sp>
        <p:nvSpPr>
          <p:cNvPr id="326" name="Freeform 240"/>
          <p:cNvSpPr>
            <a:spLocks/>
          </p:cNvSpPr>
          <p:nvPr/>
        </p:nvSpPr>
        <p:spPr bwMode="auto">
          <a:xfrm>
            <a:off x="4509722" y="4927075"/>
            <a:ext cx="268165" cy="368300"/>
          </a:xfrm>
          <a:custGeom>
            <a:avLst/>
            <a:gdLst>
              <a:gd name="T0" fmla="*/ 54932514 w 643"/>
              <a:gd name="T1" fmla="*/ 114533387 h 882"/>
              <a:gd name="T2" fmla="*/ 66980865 w 643"/>
              <a:gd name="T3" fmla="*/ 109826497 h 882"/>
              <a:gd name="T4" fmla="*/ 79029654 w 643"/>
              <a:gd name="T5" fmla="*/ 100238564 h 882"/>
              <a:gd name="T6" fmla="*/ 84338838 w 643"/>
              <a:gd name="T7" fmla="*/ 105468256 h 882"/>
              <a:gd name="T8" fmla="*/ 90056907 w 643"/>
              <a:gd name="T9" fmla="*/ 111047065 h 882"/>
              <a:gd name="T10" fmla="*/ 84951488 w 643"/>
              <a:gd name="T11" fmla="*/ 100587238 h 882"/>
              <a:gd name="T12" fmla="*/ 90669557 w 643"/>
              <a:gd name="T13" fmla="*/ 100587238 h 882"/>
              <a:gd name="T14" fmla="*/ 90873774 w 643"/>
              <a:gd name="T15" fmla="*/ 95706220 h 882"/>
              <a:gd name="T16" fmla="*/ 85564138 w 643"/>
              <a:gd name="T17" fmla="*/ 90301983 h 882"/>
              <a:gd name="T18" fmla="*/ 92099074 w 643"/>
              <a:gd name="T19" fmla="*/ 75135293 h 882"/>
              <a:gd name="T20" fmla="*/ 103943194 w 643"/>
              <a:gd name="T21" fmla="*/ 70602950 h 882"/>
              <a:gd name="T22" fmla="*/ 110681896 w 643"/>
              <a:gd name="T23" fmla="*/ 55784933 h 882"/>
              <a:gd name="T24" fmla="*/ 110886112 w 643"/>
              <a:gd name="T25" fmla="*/ 50555229 h 882"/>
              <a:gd name="T26" fmla="*/ 117012615 w 643"/>
              <a:gd name="T27" fmla="*/ 45673794 h 882"/>
              <a:gd name="T28" fmla="*/ 123343363 w 643"/>
              <a:gd name="T29" fmla="*/ 35737213 h 882"/>
              <a:gd name="T30" fmla="*/ 123956013 w 643"/>
              <a:gd name="T31" fmla="*/ 25626080 h 882"/>
              <a:gd name="T32" fmla="*/ 130082064 w 643"/>
              <a:gd name="T33" fmla="*/ 20745062 h 882"/>
              <a:gd name="T34" fmla="*/ 130490497 w 643"/>
              <a:gd name="T35" fmla="*/ 15515370 h 882"/>
              <a:gd name="T36" fmla="*/ 131307364 w 643"/>
              <a:gd name="T37" fmla="*/ 174128 h 882"/>
              <a:gd name="T38" fmla="*/ 125589295 w 643"/>
              <a:gd name="T39" fmla="*/ 0 h 882"/>
              <a:gd name="T40" fmla="*/ 125180862 w 643"/>
              <a:gd name="T41" fmla="*/ 5055565 h 882"/>
              <a:gd name="T42" fmla="*/ 113745147 w 643"/>
              <a:gd name="T43" fmla="*/ 4532345 h 882"/>
              <a:gd name="T44" fmla="*/ 108027530 w 643"/>
              <a:gd name="T45" fmla="*/ 4358217 h 882"/>
              <a:gd name="T46" fmla="*/ 96387174 w 643"/>
              <a:gd name="T47" fmla="*/ 8890562 h 882"/>
              <a:gd name="T48" fmla="*/ 78417004 w 643"/>
              <a:gd name="T49" fmla="*/ 18304344 h 882"/>
              <a:gd name="T50" fmla="*/ 60446381 w 643"/>
              <a:gd name="T51" fmla="*/ 27718130 h 882"/>
              <a:gd name="T52" fmla="*/ 48806463 w 643"/>
              <a:gd name="T53" fmla="*/ 32250891 h 882"/>
              <a:gd name="T54" fmla="*/ 42679961 w 643"/>
              <a:gd name="T55" fmla="*/ 37131909 h 882"/>
              <a:gd name="T56" fmla="*/ 36757675 w 643"/>
              <a:gd name="T57" fmla="*/ 42187472 h 882"/>
              <a:gd name="T58" fmla="*/ 30427407 w 643"/>
              <a:gd name="T59" fmla="*/ 47068489 h 882"/>
              <a:gd name="T60" fmla="*/ 24096681 w 643"/>
              <a:gd name="T61" fmla="*/ 62060647 h 882"/>
              <a:gd name="T62" fmla="*/ 17766413 w 643"/>
              <a:gd name="T63" fmla="*/ 66767536 h 882"/>
              <a:gd name="T64" fmla="*/ 11844124 w 643"/>
              <a:gd name="T65" fmla="*/ 71823100 h 882"/>
              <a:gd name="T66" fmla="*/ 5718071 w 643"/>
              <a:gd name="T67" fmla="*/ 76704535 h 882"/>
              <a:gd name="T68" fmla="*/ 0 w 643"/>
              <a:gd name="T69" fmla="*/ 76355861 h 882"/>
              <a:gd name="T70" fmla="*/ 5513854 w 643"/>
              <a:gd name="T71" fmla="*/ 81585552 h 882"/>
              <a:gd name="T72" fmla="*/ 5105421 w 643"/>
              <a:gd name="T73" fmla="*/ 86641116 h 882"/>
              <a:gd name="T74" fmla="*/ 16132679 w 643"/>
              <a:gd name="T75" fmla="*/ 92394027 h 882"/>
              <a:gd name="T76" fmla="*/ 15724245 w 643"/>
              <a:gd name="T77" fmla="*/ 102504736 h 882"/>
              <a:gd name="T78" fmla="*/ 14907378 w 643"/>
              <a:gd name="T79" fmla="*/ 112615889 h 882"/>
              <a:gd name="T80" fmla="*/ 8576655 w 643"/>
              <a:gd name="T81" fmla="*/ 122727015 h 882"/>
              <a:gd name="T82" fmla="*/ 2246385 w 643"/>
              <a:gd name="T83" fmla="*/ 132663596 h 882"/>
              <a:gd name="T84" fmla="*/ 7555572 w 643"/>
              <a:gd name="T85" fmla="*/ 143123397 h 882"/>
              <a:gd name="T86" fmla="*/ 6943371 w 643"/>
              <a:gd name="T87" fmla="*/ 148178960 h 882"/>
              <a:gd name="T88" fmla="*/ 18379063 w 643"/>
              <a:gd name="T89" fmla="*/ 153757326 h 882"/>
              <a:gd name="T90" fmla="*/ 24300897 w 643"/>
              <a:gd name="T91" fmla="*/ 148876308 h 882"/>
              <a:gd name="T92" fmla="*/ 36349693 w 643"/>
              <a:gd name="T93" fmla="*/ 139113855 h 882"/>
              <a:gd name="T94" fmla="*/ 48806463 w 643"/>
              <a:gd name="T95" fmla="*/ 124470385 h 882"/>
              <a:gd name="T96" fmla="*/ 54932514 w 643"/>
              <a:gd name="T97" fmla="*/ 114533387 h 8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43"/>
              <a:gd name="T148" fmla="*/ 0 h 882"/>
              <a:gd name="T149" fmla="*/ 643 w 643"/>
              <a:gd name="T150" fmla="*/ 882 h 8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43" h="882">
                <a:moveTo>
                  <a:pt x="269" y="657"/>
                </a:moveTo>
                <a:lnTo>
                  <a:pt x="328" y="630"/>
                </a:lnTo>
                <a:lnTo>
                  <a:pt x="387" y="575"/>
                </a:lnTo>
                <a:lnTo>
                  <a:pt x="413" y="605"/>
                </a:lnTo>
                <a:lnTo>
                  <a:pt x="441" y="637"/>
                </a:lnTo>
                <a:lnTo>
                  <a:pt x="416" y="577"/>
                </a:lnTo>
                <a:lnTo>
                  <a:pt x="444" y="577"/>
                </a:lnTo>
                <a:lnTo>
                  <a:pt x="445" y="549"/>
                </a:lnTo>
                <a:lnTo>
                  <a:pt x="419" y="518"/>
                </a:lnTo>
                <a:lnTo>
                  <a:pt x="451" y="431"/>
                </a:lnTo>
                <a:lnTo>
                  <a:pt x="509" y="405"/>
                </a:lnTo>
                <a:lnTo>
                  <a:pt x="542" y="320"/>
                </a:lnTo>
                <a:lnTo>
                  <a:pt x="543" y="290"/>
                </a:lnTo>
                <a:lnTo>
                  <a:pt x="573" y="262"/>
                </a:lnTo>
                <a:lnTo>
                  <a:pt x="604" y="205"/>
                </a:lnTo>
                <a:lnTo>
                  <a:pt x="607" y="147"/>
                </a:lnTo>
                <a:lnTo>
                  <a:pt x="637" y="119"/>
                </a:lnTo>
                <a:lnTo>
                  <a:pt x="639" y="89"/>
                </a:lnTo>
                <a:lnTo>
                  <a:pt x="643" y="1"/>
                </a:lnTo>
                <a:lnTo>
                  <a:pt x="615" y="0"/>
                </a:lnTo>
                <a:lnTo>
                  <a:pt x="613" y="29"/>
                </a:lnTo>
                <a:lnTo>
                  <a:pt x="557" y="26"/>
                </a:lnTo>
                <a:lnTo>
                  <a:pt x="529" y="25"/>
                </a:lnTo>
                <a:lnTo>
                  <a:pt x="472" y="51"/>
                </a:lnTo>
                <a:lnTo>
                  <a:pt x="384" y="105"/>
                </a:lnTo>
                <a:lnTo>
                  <a:pt x="296" y="159"/>
                </a:lnTo>
                <a:lnTo>
                  <a:pt x="239" y="185"/>
                </a:lnTo>
                <a:lnTo>
                  <a:pt x="209" y="213"/>
                </a:lnTo>
                <a:lnTo>
                  <a:pt x="180" y="242"/>
                </a:lnTo>
                <a:lnTo>
                  <a:pt x="149" y="270"/>
                </a:lnTo>
                <a:lnTo>
                  <a:pt x="118" y="356"/>
                </a:lnTo>
                <a:lnTo>
                  <a:pt x="87" y="383"/>
                </a:lnTo>
                <a:lnTo>
                  <a:pt x="58" y="412"/>
                </a:lnTo>
                <a:lnTo>
                  <a:pt x="28" y="440"/>
                </a:lnTo>
                <a:lnTo>
                  <a:pt x="0" y="438"/>
                </a:lnTo>
                <a:lnTo>
                  <a:pt x="27" y="468"/>
                </a:lnTo>
                <a:lnTo>
                  <a:pt x="25" y="497"/>
                </a:lnTo>
                <a:lnTo>
                  <a:pt x="79" y="530"/>
                </a:lnTo>
                <a:lnTo>
                  <a:pt x="77" y="588"/>
                </a:lnTo>
                <a:lnTo>
                  <a:pt x="73" y="646"/>
                </a:lnTo>
                <a:lnTo>
                  <a:pt x="42" y="704"/>
                </a:lnTo>
                <a:lnTo>
                  <a:pt x="11" y="761"/>
                </a:lnTo>
                <a:lnTo>
                  <a:pt x="37" y="821"/>
                </a:lnTo>
                <a:lnTo>
                  <a:pt x="34" y="850"/>
                </a:lnTo>
                <a:lnTo>
                  <a:pt x="90" y="882"/>
                </a:lnTo>
                <a:lnTo>
                  <a:pt x="119" y="854"/>
                </a:lnTo>
                <a:lnTo>
                  <a:pt x="178" y="798"/>
                </a:lnTo>
                <a:lnTo>
                  <a:pt x="239" y="714"/>
                </a:lnTo>
                <a:lnTo>
                  <a:pt x="269" y="657"/>
                </a:lnTo>
              </a:path>
            </a:pathLst>
          </a:custGeom>
          <a:solidFill>
            <a:srgbClr val="B2C2D1"/>
          </a:solidFill>
          <a:ln w="9525">
            <a:noFill/>
            <a:round/>
            <a:headEnd/>
            <a:tailEnd/>
          </a:ln>
        </p:spPr>
        <p:txBody>
          <a:bodyPr/>
          <a:lstStyle/>
          <a:p>
            <a:endParaRPr lang="el-GR"/>
          </a:p>
        </p:txBody>
      </p:sp>
      <p:sp>
        <p:nvSpPr>
          <p:cNvPr id="327" name="Freeform 213"/>
          <p:cNvSpPr>
            <a:spLocks/>
          </p:cNvSpPr>
          <p:nvPr/>
        </p:nvSpPr>
        <p:spPr bwMode="auto">
          <a:xfrm>
            <a:off x="2632564" y="3985687"/>
            <a:ext cx="26377" cy="69850"/>
          </a:xfrm>
          <a:custGeom>
            <a:avLst/>
            <a:gdLst>
              <a:gd name="T0" fmla="*/ 12720784 w 64"/>
              <a:gd name="T1" fmla="*/ 0 h 171"/>
              <a:gd name="T2" fmla="*/ 12124281 w 64"/>
              <a:gd name="T3" fmla="*/ 4858455 h 171"/>
              <a:gd name="T4" fmla="*/ 11925595 w 64"/>
              <a:gd name="T5" fmla="*/ 9549843 h 171"/>
              <a:gd name="T6" fmla="*/ 11528225 w 64"/>
              <a:gd name="T7" fmla="*/ 14575776 h 171"/>
              <a:gd name="T8" fmla="*/ 5962798 w 64"/>
              <a:gd name="T9" fmla="*/ 19266754 h 171"/>
              <a:gd name="T10" fmla="*/ 198686 w 64"/>
              <a:gd name="T11" fmla="*/ 23790663 h 171"/>
              <a:gd name="T12" fmla="*/ 0 w 64"/>
              <a:gd name="T13" fmla="*/ 28649123 h 171"/>
              <a:gd name="T14" fmla="*/ 198686 w 64"/>
              <a:gd name="T15" fmla="*/ 23790663 h 171"/>
              <a:gd name="T16" fmla="*/ 596503 w 64"/>
              <a:gd name="T17" fmla="*/ 18931801 h 171"/>
              <a:gd name="T18" fmla="*/ 6161483 w 64"/>
              <a:gd name="T19" fmla="*/ 14408300 h 171"/>
              <a:gd name="T20" fmla="*/ 6559301 w 64"/>
              <a:gd name="T21" fmla="*/ 9382366 h 171"/>
              <a:gd name="T22" fmla="*/ 6757986 w 64"/>
              <a:gd name="T23" fmla="*/ 4523502 h 171"/>
              <a:gd name="T24" fmla="*/ 12720784 w 64"/>
              <a:gd name="T25" fmla="*/ 0 h 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171"/>
              <a:gd name="T41" fmla="*/ 64 w 64"/>
              <a:gd name="T42" fmla="*/ 171 h 1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171">
                <a:moveTo>
                  <a:pt x="64" y="0"/>
                </a:moveTo>
                <a:lnTo>
                  <a:pt x="61" y="29"/>
                </a:lnTo>
                <a:lnTo>
                  <a:pt x="60" y="57"/>
                </a:lnTo>
                <a:lnTo>
                  <a:pt x="58" y="87"/>
                </a:lnTo>
                <a:lnTo>
                  <a:pt x="30" y="115"/>
                </a:lnTo>
                <a:lnTo>
                  <a:pt x="1" y="142"/>
                </a:lnTo>
                <a:lnTo>
                  <a:pt x="0" y="171"/>
                </a:lnTo>
                <a:lnTo>
                  <a:pt x="1" y="142"/>
                </a:lnTo>
                <a:lnTo>
                  <a:pt x="3" y="113"/>
                </a:lnTo>
                <a:lnTo>
                  <a:pt x="31" y="86"/>
                </a:lnTo>
                <a:lnTo>
                  <a:pt x="33" y="56"/>
                </a:lnTo>
                <a:lnTo>
                  <a:pt x="34" y="27"/>
                </a:lnTo>
                <a:lnTo>
                  <a:pt x="64" y="0"/>
                </a:lnTo>
                <a:close/>
              </a:path>
            </a:pathLst>
          </a:custGeom>
          <a:solidFill>
            <a:srgbClr val="AAA19A"/>
          </a:solidFill>
          <a:ln w="9525">
            <a:noFill/>
            <a:round/>
            <a:headEnd/>
            <a:tailEnd/>
          </a:ln>
        </p:spPr>
        <p:txBody>
          <a:bodyPr/>
          <a:lstStyle/>
          <a:p>
            <a:endParaRPr lang="el-GR"/>
          </a:p>
        </p:txBody>
      </p:sp>
      <p:sp>
        <p:nvSpPr>
          <p:cNvPr id="328" name="Freeform 214"/>
          <p:cNvSpPr>
            <a:spLocks/>
          </p:cNvSpPr>
          <p:nvPr/>
        </p:nvSpPr>
        <p:spPr bwMode="auto">
          <a:xfrm>
            <a:off x="2632564" y="3985687"/>
            <a:ext cx="26377" cy="69850"/>
          </a:xfrm>
          <a:custGeom>
            <a:avLst/>
            <a:gdLst>
              <a:gd name="T0" fmla="*/ 12720784 w 64"/>
              <a:gd name="T1" fmla="*/ 0 h 171"/>
              <a:gd name="T2" fmla="*/ 12124281 w 64"/>
              <a:gd name="T3" fmla="*/ 4858455 h 171"/>
              <a:gd name="T4" fmla="*/ 11925595 w 64"/>
              <a:gd name="T5" fmla="*/ 9549843 h 171"/>
              <a:gd name="T6" fmla="*/ 11528225 w 64"/>
              <a:gd name="T7" fmla="*/ 14575776 h 171"/>
              <a:gd name="T8" fmla="*/ 5962798 w 64"/>
              <a:gd name="T9" fmla="*/ 19266754 h 171"/>
              <a:gd name="T10" fmla="*/ 198686 w 64"/>
              <a:gd name="T11" fmla="*/ 23790663 h 171"/>
              <a:gd name="T12" fmla="*/ 0 w 64"/>
              <a:gd name="T13" fmla="*/ 28649123 h 171"/>
              <a:gd name="T14" fmla="*/ 198686 w 64"/>
              <a:gd name="T15" fmla="*/ 23790663 h 171"/>
              <a:gd name="T16" fmla="*/ 596503 w 64"/>
              <a:gd name="T17" fmla="*/ 18931801 h 171"/>
              <a:gd name="T18" fmla="*/ 6161483 w 64"/>
              <a:gd name="T19" fmla="*/ 14408300 h 171"/>
              <a:gd name="T20" fmla="*/ 6559301 w 64"/>
              <a:gd name="T21" fmla="*/ 9382366 h 171"/>
              <a:gd name="T22" fmla="*/ 6757986 w 64"/>
              <a:gd name="T23" fmla="*/ 4523502 h 171"/>
              <a:gd name="T24" fmla="*/ 12720784 w 64"/>
              <a:gd name="T25" fmla="*/ 0 h 17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4"/>
              <a:gd name="T40" fmla="*/ 0 h 171"/>
              <a:gd name="T41" fmla="*/ 64 w 64"/>
              <a:gd name="T42" fmla="*/ 171 h 17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4" h="171">
                <a:moveTo>
                  <a:pt x="64" y="0"/>
                </a:moveTo>
                <a:lnTo>
                  <a:pt x="61" y="29"/>
                </a:lnTo>
                <a:lnTo>
                  <a:pt x="60" y="57"/>
                </a:lnTo>
                <a:lnTo>
                  <a:pt x="58" y="87"/>
                </a:lnTo>
                <a:lnTo>
                  <a:pt x="30" y="115"/>
                </a:lnTo>
                <a:lnTo>
                  <a:pt x="1" y="142"/>
                </a:lnTo>
                <a:lnTo>
                  <a:pt x="0" y="171"/>
                </a:lnTo>
                <a:lnTo>
                  <a:pt x="1" y="142"/>
                </a:lnTo>
                <a:lnTo>
                  <a:pt x="3" y="113"/>
                </a:lnTo>
                <a:lnTo>
                  <a:pt x="31" y="86"/>
                </a:lnTo>
                <a:lnTo>
                  <a:pt x="33" y="56"/>
                </a:lnTo>
                <a:lnTo>
                  <a:pt x="34" y="27"/>
                </a:lnTo>
                <a:lnTo>
                  <a:pt x="64" y="0"/>
                </a:lnTo>
              </a:path>
            </a:pathLst>
          </a:custGeom>
          <a:noFill/>
          <a:ln w="9525">
            <a:noFill/>
            <a:round/>
            <a:headEnd/>
            <a:tailEnd/>
          </a:ln>
        </p:spPr>
        <p:txBody>
          <a:bodyPr/>
          <a:lstStyle/>
          <a:p>
            <a:endParaRPr lang="el-GR"/>
          </a:p>
        </p:txBody>
      </p:sp>
      <p:sp>
        <p:nvSpPr>
          <p:cNvPr id="329" name="Freeform 237"/>
          <p:cNvSpPr>
            <a:spLocks/>
          </p:cNvSpPr>
          <p:nvPr/>
        </p:nvSpPr>
        <p:spPr bwMode="auto">
          <a:xfrm>
            <a:off x="3702294" y="3536425"/>
            <a:ext cx="36635" cy="23812"/>
          </a:xfrm>
          <a:custGeom>
            <a:avLst/>
            <a:gdLst>
              <a:gd name="T0" fmla="*/ 12549618 w 87"/>
              <a:gd name="T1" fmla="*/ 628481 h 61"/>
              <a:gd name="T2" fmla="*/ 18197177 w 87"/>
              <a:gd name="T3" fmla="*/ 5340915 h 61"/>
              <a:gd name="T4" fmla="*/ 11712977 w 87"/>
              <a:gd name="T5" fmla="*/ 9582184 h 61"/>
              <a:gd name="T6" fmla="*/ 0 w 87"/>
              <a:gd name="T7" fmla="*/ 4712434 h 61"/>
              <a:gd name="T8" fmla="*/ 0 w 87"/>
              <a:gd name="T9" fmla="*/ 0 h 61"/>
              <a:gd name="T10" fmla="*/ 12549618 w 87"/>
              <a:gd name="T11" fmla="*/ 628481 h 61"/>
              <a:gd name="T12" fmla="*/ 0 60000 65536"/>
              <a:gd name="T13" fmla="*/ 0 60000 65536"/>
              <a:gd name="T14" fmla="*/ 0 60000 65536"/>
              <a:gd name="T15" fmla="*/ 0 60000 65536"/>
              <a:gd name="T16" fmla="*/ 0 60000 65536"/>
              <a:gd name="T17" fmla="*/ 0 60000 65536"/>
              <a:gd name="T18" fmla="*/ 0 w 87"/>
              <a:gd name="T19" fmla="*/ 0 h 61"/>
              <a:gd name="T20" fmla="*/ 87 w 8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87" h="61">
                <a:moveTo>
                  <a:pt x="60" y="4"/>
                </a:moveTo>
                <a:lnTo>
                  <a:pt x="87" y="34"/>
                </a:lnTo>
                <a:lnTo>
                  <a:pt x="56" y="61"/>
                </a:lnTo>
                <a:lnTo>
                  <a:pt x="0" y="30"/>
                </a:lnTo>
                <a:lnTo>
                  <a:pt x="0" y="0"/>
                </a:lnTo>
                <a:lnTo>
                  <a:pt x="60" y="4"/>
                </a:lnTo>
                <a:close/>
              </a:path>
            </a:pathLst>
          </a:custGeom>
          <a:solidFill>
            <a:srgbClr val="AAA19A"/>
          </a:solidFill>
          <a:ln w="9525">
            <a:noFill/>
            <a:round/>
            <a:headEnd/>
            <a:tailEnd/>
          </a:ln>
        </p:spPr>
        <p:txBody>
          <a:bodyPr/>
          <a:lstStyle/>
          <a:p>
            <a:endParaRPr lang="el-GR"/>
          </a:p>
        </p:txBody>
      </p:sp>
      <p:sp>
        <p:nvSpPr>
          <p:cNvPr id="330" name="Freeform 238"/>
          <p:cNvSpPr>
            <a:spLocks/>
          </p:cNvSpPr>
          <p:nvPr/>
        </p:nvSpPr>
        <p:spPr bwMode="auto">
          <a:xfrm>
            <a:off x="3702294" y="3536425"/>
            <a:ext cx="36635" cy="23812"/>
          </a:xfrm>
          <a:custGeom>
            <a:avLst/>
            <a:gdLst>
              <a:gd name="T0" fmla="*/ 12549618 w 87"/>
              <a:gd name="T1" fmla="*/ 628481 h 61"/>
              <a:gd name="T2" fmla="*/ 18197177 w 87"/>
              <a:gd name="T3" fmla="*/ 5340915 h 61"/>
              <a:gd name="T4" fmla="*/ 11712977 w 87"/>
              <a:gd name="T5" fmla="*/ 9582184 h 61"/>
              <a:gd name="T6" fmla="*/ 0 w 87"/>
              <a:gd name="T7" fmla="*/ 4712434 h 61"/>
              <a:gd name="T8" fmla="*/ 0 w 87"/>
              <a:gd name="T9" fmla="*/ 0 h 61"/>
              <a:gd name="T10" fmla="*/ 12549618 w 87"/>
              <a:gd name="T11" fmla="*/ 628481 h 61"/>
              <a:gd name="T12" fmla="*/ 0 60000 65536"/>
              <a:gd name="T13" fmla="*/ 0 60000 65536"/>
              <a:gd name="T14" fmla="*/ 0 60000 65536"/>
              <a:gd name="T15" fmla="*/ 0 60000 65536"/>
              <a:gd name="T16" fmla="*/ 0 60000 65536"/>
              <a:gd name="T17" fmla="*/ 0 60000 65536"/>
              <a:gd name="T18" fmla="*/ 0 w 87"/>
              <a:gd name="T19" fmla="*/ 0 h 61"/>
              <a:gd name="T20" fmla="*/ 87 w 87"/>
              <a:gd name="T21" fmla="*/ 61 h 61"/>
            </a:gdLst>
            <a:ahLst/>
            <a:cxnLst>
              <a:cxn ang="T12">
                <a:pos x="T0" y="T1"/>
              </a:cxn>
              <a:cxn ang="T13">
                <a:pos x="T2" y="T3"/>
              </a:cxn>
              <a:cxn ang="T14">
                <a:pos x="T4" y="T5"/>
              </a:cxn>
              <a:cxn ang="T15">
                <a:pos x="T6" y="T7"/>
              </a:cxn>
              <a:cxn ang="T16">
                <a:pos x="T8" y="T9"/>
              </a:cxn>
              <a:cxn ang="T17">
                <a:pos x="T10" y="T11"/>
              </a:cxn>
            </a:cxnLst>
            <a:rect l="T18" t="T19" r="T20" b="T21"/>
            <a:pathLst>
              <a:path w="87" h="61">
                <a:moveTo>
                  <a:pt x="60" y="4"/>
                </a:moveTo>
                <a:lnTo>
                  <a:pt x="87" y="34"/>
                </a:lnTo>
                <a:lnTo>
                  <a:pt x="56" y="61"/>
                </a:lnTo>
                <a:lnTo>
                  <a:pt x="0" y="30"/>
                </a:lnTo>
                <a:lnTo>
                  <a:pt x="0" y="0"/>
                </a:lnTo>
                <a:lnTo>
                  <a:pt x="60" y="4"/>
                </a:lnTo>
              </a:path>
            </a:pathLst>
          </a:custGeom>
          <a:noFill/>
          <a:ln w="9525">
            <a:noFill/>
            <a:round/>
            <a:headEnd/>
            <a:tailEnd/>
          </a:ln>
        </p:spPr>
        <p:txBody>
          <a:bodyPr/>
          <a:lstStyle/>
          <a:p>
            <a:endParaRPr lang="el-GR"/>
          </a:p>
        </p:txBody>
      </p:sp>
      <p:sp>
        <p:nvSpPr>
          <p:cNvPr id="331" name="Freeform 251"/>
          <p:cNvSpPr>
            <a:spLocks/>
          </p:cNvSpPr>
          <p:nvPr/>
        </p:nvSpPr>
        <p:spPr bwMode="auto">
          <a:xfrm>
            <a:off x="2698507" y="4046012"/>
            <a:ext cx="83526" cy="109538"/>
          </a:xfrm>
          <a:custGeom>
            <a:avLst/>
            <a:gdLst>
              <a:gd name="T0" fmla="*/ 24505320 w 201"/>
              <a:gd name="T1" fmla="*/ 178742 h 258"/>
              <a:gd name="T2" fmla="*/ 30223113 w 201"/>
              <a:gd name="T3" fmla="*/ 536651 h 258"/>
              <a:gd name="T4" fmla="*/ 35736966 w 201"/>
              <a:gd name="T5" fmla="*/ 5903588 h 258"/>
              <a:gd name="T6" fmla="*/ 35328649 w 201"/>
              <a:gd name="T7" fmla="*/ 10912615 h 258"/>
              <a:gd name="T8" fmla="*/ 41046435 w 201"/>
              <a:gd name="T9" fmla="*/ 11449266 h 258"/>
              <a:gd name="T10" fmla="*/ 35328649 w 201"/>
              <a:gd name="T11" fmla="*/ 10912615 h 258"/>
              <a:gd name="T12" fmla="*/ 35124266 w 201"/>
              <a:gd name="T13" fmla="*/ 16279553 h 258"/>
              <a:gd name="T14" fmla="*/ 34919882 w 201"/>
              <a:gd name="T15" fmla="*/ 21467322 h 258"/>
              <a:gd name="T16" fmla="*/ 28793772 w 201"/>
              <a:gd name="T17" fmla="*/ 26297606 h 258"/>
              <a:gd name="T18" fmla="*/ 22667219 w 201"/>
              <a:gd name="T19" fmla="*/ 31127896 h 258"/>
              <a:gd name="T20" fmla="*/ 16541116 w 201"/>
              <a:gd name="T21" fmla="*/ 36136922 h 258"/>
              <a:gd name="T22" fmla="*/ 10414559 w 201"/>
              <a:gd name="T23" fmla="*/ 46154974 h 258"/>
              <a:gd name="T24" fmla="*/ 4696771 w 201"/>
              <a:gd name="T25" fmla="*/ 45976232 h 258"/>
              <a:gd name="T26" fmla="*/ 5309471 w 201"/>
              <a:gd name="T27" fmla="*/ 35600271 h 258"/>
              <a:gd name="T28" fmla="*/ 5513855 w 201"/>
              <a:gd name="T29" fmla="*/ 30591245 h 258"/>
              <a:gd name="T30" fmla="*/ 0 w 201"/>
              <a:gd name="T31" fmla="*/ 24866395 h 258"/>
              <a:gd name="T32" fmla="*/ 5717788 w 201"/>
              <a:gd name="T33" fmla="*/ 25224303 h 258"/>
              <a:gd name="T34" fmla="*/ 408317 w 201"/>
              <a:gd name="T35" fmla="*/ 19857369 h 258"/>
              <a:gd name="T36" fmla="*/ 6330488 w 201"/>
              <a:gd name="T37" fmla="*/ 14848343 h 258"/>
              <a:gd name="T38" fmla="*/ 6738805 w 201"/>
              <a:gd name="T39" fmla="*/ 9839313 h 258"/>
              <a:gd name="T40" fmla="*/ 12252660 w 201"/>
              <a:gd name="T41" fmla="*/ 10018055 h 258"/>
              <a:gd name="T42" fmla="*/ 12865360 w 201"/>
              <a:gd name="T43" fmla="*/ 4830286 h 258"/>
              <a:gd name="T44" fmla="*/ 18787534 w 201"/>
              <a:gd name="T45" fmla="*/ 0 h 258"/>
              <a:gd name="T46" fmla="*/ 24505320 w 201"/>
              <a:gd name="T47" fmla="*/ 178742 h 25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1"/>
              <a:gd name="T73" fmla="*/ 0 h 258"/>
              <a:gd name="T74" fmla="*/ 201 w 201"/>
              <a:gd name="T75" fmla="*/ 258 h 25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1" h="258">
                <a:moveTo>
                  <a:pt x="120" y="1"/>
                </a:moveTo>
                <a:lnTo>
                  <a:pt x="148" y="3"/>
                </a:lnTo>
                <a:lnTo>
                  <a:pt x="175" y="33"/>
                </a:lnTo>
                <a:lnTo>
                  <a:pt x="173" y="61"/>
                </a:lnTo>
                <a:lnTo>
                  <a:pt x="201" y="64"/>
                </a:lnTo>
                <a:lnTo>
                  <a:pt x="173" y="61"/>
                </a:lnTo>
                <a:lnTo>
                  <a:pt x="172" y="91"/>
                </a:lnTo>
                <a:lnTo>
                  <a:pt x="171" y="120"/>
                </a:lnTo>
                <a:lnTo>
                  <a:pt x="141" y="147"/>
                </a:lnTo>
                <a:lnTo>
                  <a:pt x="111" y="174"/>
                </a:lnTo>
                <a:lnTo>
                  <a:pt x="81" y="202"/>
                </a:lnTo>
                <a:lnTo>
                  <a:pt x="51" y="258"/>
                </a:lnTo>
                <a:lnTo>
                  <a:pt x="23" y="257"/>
                </a:lnTo>
                <a:lnTo>
                  <a:pt x="26" y="199"/>
                </a:lnTo>
                <a:lnTo>
                  <a:pt x="27" y="171"/>
                </a:lnTo>
                <a:lnTo>
                  <a:pt x="0" y="139"/>
                </a:lnTo>
                <a:lnTo>
                  <a:pt x="28" y="141"/>
                </a:lnTo>
                <a:lnTo>
                  <a:pt x="2" y="111"/>
                </a:lnTo>
                <a:lnTo>
                  <a:pt x="31" y="83"/>
                </a:lnTo>
                <a:lnTo>
                  <a:pt x="33" y="55"/>
                </a:lnTo>
                <a:lnTo>
                  <a:pt x="60" y="56"/>
                </a:lnTo>
                <a:lnTo>
                  <a:pt x="63" y="27"/>
                </a:lnTo>
                <a:lnTo>
                  <a:pt x="92" y="0"/>
                </a:lnTo>
                <a:lnTo>
                  <a:pt x="120" y="1"/>
                </a:lnTo>
                <a:close/>
              </a:path>
            </a:pathLst>
          </a:custGeom>
          <a:solidFill>
            <a:srgbClr val="AAA19A"/>
          </a:solidFill>
          <a:ln w="9525">
            <a:noFill/>
            <a:round/>
            <a:headEnd/>
            <a:tailEnd/>
          </a:ln>
        </p:spPr>
        <p:txBody>
          <a:bodyPr/>
          <a:lstStyle/>
          <a:p>
            <a:endParaRPr lang="el-GR"/>
          </a:p>
        </p:txBody>
      </p:sp>
      <p:sp>
        <p:nvSpPr>
          <p:cNvPr id="332" name="Freeform 252"/>
          <p:cNvSpPr>
            <a:spLocks/>
          </p:cNvSpPr>
          <p:nvPr/>
        </p:nvSpPr>
        <p:spPr bwMode="auto">
          <a:xfrm>
            <a:off x="2698507" y="4046012"/>
            <a:ext cx="83526" cy="109538"/>
          </a:xfrm>
          <a:custGeom>
            <a:avLst/>
            <a:gdLst>
              <a:gd name="T0" fmla="*/ 24505320 w 201"/>
              <a:gd name="T1" fmla="*/ 178742 h 258"/>
              <a:gd name="T2" fmla="*/ 30223113 w 201"/>
              <a:gd name="T3" fmla="*/ 536651 h 258"/>
              <a:gd name="T4" fmla="*/ 35736966 w 201"/>
              <a:gd name="T5" fmla="*/ 5903588 h 258"/>
              <a:gd name="T6" fmla="*/ 35328649 w 201"/>
              <a:gd name="T7" fmla="*/ 10912615 h 258"/>
              <a:gd name="T8" fmla="*/ 41046435 w 201"/>
              <a:gd name="T9" fmla="*/ 11449266 h 258"/>
              <a:gd name="T10" fmla="*/ 35328649 w 201"/>
              <a:gd name="T11" fmla="*/ 10912615 h 258"/>
              <a:gd name="T12" fmla="*/ 35124266 w 201"/>
              <a:gd name="T13" fmla="*/ 16279553 h 258"/>
              <a:gd name="T14" fmla="*/ 34919882 w 201"/>
              <a:gd name="T15" fmla="*/ 21467322 h 258"/>
              <a:gd name="T16" fmla="*/ 28793772 w 201"/>
              <a:gd name="T17" fmla="*/ 26297606 h 258"/>
              <a:gd name="T18" fmla="*/ 22667219 w 201"/>
              <a:gd name="T19" fmla="*/ 31127896 h 258"/>
              <a:gd name="T20" fmla="*/ 16541116 w 201"/>
              <a:gd name="T21" fmla="*/ 36136922 h 258"/>
              <a:gd name="T22" fmla="*/ 10414559 w 201"/>
              <a:gd name="T23" fmla="*/ 46154974 h 258"/>
              <a:gd name="T24" fmla="*/ 4696771 w 201"/>
              <a:gd name="T25" fmla="*/ 45976232 h 258"/>
              <a:gd name="T26" fmla="*/ 5309471 w 201"/>
              <a:gd name="T27" fmla="*/ 35600271 h 258"/>
              <a:gd name="T28" fmla="*/ 5513855 w 201"/>
              <a:gd name="T29" fmla="*/ 30591245 h 258"/>
              <a:gd name="T30" fmla="*/ 0 w 201"/>
              <a:gd name="T31" fmla="*/ 24866395 h 258"/>
              <a:gd name="T32" fmla="*/ 5717788 w 201"/>
              <a:gd name="T33" fmla="*/ 25224303 h 258"/>
              <a:gd name="T34" fmla="*/ 408317 w 201"/>
              <a:gd name="T35" fmla="*/ 19857369 h 258"/>
              <a:gd name="T36" fmla="*/ 6330488 w 201"/>
              <a:gd name="T37" fmla="*/ 14848343 h 258"/>
              <a:gd name="T38" fmla="*/ 6738805 w 201"/>
              <a:gd name="T39" fmla="*/ 9839313 h 258"/>
              <a:gd name="T40" fmla="*/ 12252660 w 201"/>
              <a:gd name="T41" fmla="*/ 10018055 h 258"/>
              <a:gd name="T42" fmla="*/ 12865360 w 201"/>
              <a:gd name="T43" fmla="*/ 4830286 h 258"/>
              <a:gd name="T44" fmla="*/ 18787534 w 201"/>
              <a:gd name="T45" fmla="*/ 0 h 258"/>
              <a:gd name="T46" fmla="*/ 24505320 w 201"/>
              <a:gd name="T47" fmla="*/ 178742 h 25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1"/>
              <a:gd name="T73" fmla="*/ 0 h 258"/>
              <a:gd name="T74" fmla="*/ 201 w 201"/>
              <a:gd name="T75" fmla="*/ 258 h 25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1" h="258">
                <a:moveTo>
                  <a:pt x="120" y="1"/>
                </a:moveTo>
                <a:lnTo>
                  <a:pt x="148" y="3"/>
                </a:lnTo>
                <a:lnTo>
                  <a:pt x="175" y="33"/>
                </a:lnTo>
                <a:lnTo>
                  <a:pt x="173" y="61"/>
                </a:lnTo>
                <a:lnTo>
                  <a:pt x="201" y="64"/>
                </a:lnTo>
                <a:lnTo>
                  <a:pt x="173" y="61"/>
                </a:lnTo>
                <a:lnTo>
                  <a:pt x="172" y="91"/>
                </a:lnTo>
                <a:lnTo>
                  <a:pt x="171" y="120"/>
                </a:lnTo>
                <a:lnTo>
                  <a:pt x="141" y="147"/>
                </a:lnTo>
                <a:lnTo>
                  <a:pt x="111" y="174"/>
                </a:lnTo>
                <a:lnTo>
                  <a:pt x="81" y="202"/>
                </a:lnTo>
                <a:lnTo>
                  <a:pt x="51" y="258"/>
                </a:lnTo>
                <a:lnTo>
                  <a:pt x="23" y="257"/>
                </a:lnTo>
                <a:lnTo>
                  <a:pt x="26" y="199"/>
                </a:lnTo>
                <a:lnTo>
                  <a:pt x="27" y="171"/>
                </a:lnTo>
                <a:lnTo>
                  <a:pt x="0" y="139"/>
                </a:lnTo>
                <a:lnTo>
                  <a:pt x="28" y="141"/>
                </a:lnTo>
                <a:lnTo>
                  <a:pt x="2" y="111"/>
                </a:lnTo>
                <a:lnTo>
                  <a:pt x="31" y="83"/>
                </a:lnTo>
                <a:lnTo>
                  <a:pt x="33" y="55"/>
                </a:lnTo>
                <a:lnTo>
                  <a:pt x="60" y="56"/>
                </a:lnTo>
                <a:lnTo>
                  <a:pt x="63" y="27"/>
                </a:lnTo>
                <a:lnTo>
                  <a:pt x="92" y="0"/>
                </a:lnTo>
                <a:lnTo>
                  <a:pt x="120" y="1"/>
                </a:lnTo>
              </a:path>
            </a:pathLst>
          </a:custGeom>
          <a:noFill/>
          <a:ln w="9525">
            <a:noFill/>
            <a:round/>
            <a:headEnd/>
            <a:tailEnd/>
          </a:ln>
        </p:spPr>
        <p:txBody>
          <a:bodyPr/>
          <a:lstStyle/>
          <a:p>
            <a:endParaRPr lang="el-GR"/>
          </a:p>
        </p:txBody>
      </p:sp>
      <p:sp>
        <p:nvSpPr>
          <p:cNvPr id="335" name="Oval 403"/>
          <p:cNvSpPr>
            <a:spLocks noChangeAspect="1" noChangeArrowheads="1"/>
          </p:cNvSpPr>
          <p:nvPr/>
        </p:nvSpPr>
        <p:spPr bwMode="auto">
          <a:xfrm>
            <a:off x="2562777" y="1561807"/>
            <a:ext cx="133350" cy="131762"/>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pic>
        <p:nvPicPr>
          <p:cNvPr id="336" name="Picture 423" descr="MC900440405[1]"/>
          <p:cNvPicPr preferRelativeResize="0">
            <a:picLocks noChangeAspect="1" noChangeArrowheads="1"/>
          </p:cNvPicPr>
          <p:nvPr/>
        </p:nvPicPr>
        <p:blipFill>
          <a:blip r:embed="rId9"/>
          <a:srcRect/>
          <a:stretch>
            <a:fillRect/>
          </a:stretch>
        </p:blipFill>
        <p:spPr bwMode="auto">
          <a:xfrm>
            <a:off x="2408185" y="3828525"/>
            <a:ext cx="155331" cy="120650"/>
          </a:xfrm>
          <a:prstGeom prst="rect">
            <a:avLst/>
          </a:prstGeom>
          <a:noFill/>
          <a:ln w="9525">
            <a:noFill/>
            <a:miter lim="800000"/>
            <a:headEnd/>
            <a:tailEnd/>
          </a:ln>
        </p:spPr>
      </p:pic>
      <p:pic>
        <p:nvPicPr>
          <p:cNvPr id="337" name="Picture 424" descr="MC900440405[1]"/>
          <p:cNvPicPr preferRelativeResize="0">
            <a:picLocks noChangeAspect="1" noChangeArrowheads="1"/>
          </p:cNvPicPr>
          <p:nvPr/>
        </p:nvPicPr>
        <p:blipFill>
          <a:blip r:embed="rId9"/>
          <a:srcRect/>
          <a:stretch>
            <a:fillRect/>
          </a:stretch>
        </p:blipFill>
        <p:spPr bwMode="auto">
          <a:xfrm>
            <a:off x="2587964" y="3875507"/>
            <a:ext cx="153865" cy="120650"/>
          </a:xfrm>
          <a:prstGeom prst="rect">
            <a:avLst/>
          </a:prstGeom>
          <a:noFill/>
          <a:ln w="9525">
            <a:noFill/>
            <a:miter lim="800000"/>
            <a:headEnd/>
            <a:tailEnd/>
          </a:ln>
        </p:spPr>
      </p:pic>
      <p:pic>
        <p:nvPicPr>
          <p:cNvPr id="338" name="Picture 425" descr="MC900440405[1]"/>
          <p:cNvPicPr preferRelativeResize="0">
            <a:picLocks noChangeAspect="1" noChangeArrowheads="1"/>
          </p:cNvPicPr>
          <p:nvPr/>
        </p:nvPicPr>
        <p:blipFill>
          <a:blip r:embed="rId9"/>
          <a:srcRect/>
          <a:stretch>
            <a:fillRect/>
          </a:stretch>
        </p:blipFill>
        <p:spPr bwMode="auto">
          <a:xfrm>
            <a:off x="2676525" y="4198412"/>
            <a:ext cx="155331" cy="122238"/>
          </a:xfrm>
          <a:prstGeom prst="rect">
            <a:avLst/>
          </a:prstGeom>
          <a:noFill/>
          <a:ln w="9525">
            <a:noFill/>
            <a:miter lim="800000"/>
            <a:headEnd/>
            <a:tailEnd/>
          </a:ln>
        </p:spPr>
      </p:pic>
      <p:pic>
        <p:nvPicPr>
          <p:cNvPr id="339" name="Picture 427" descr="Energy icons (2)-1"/>
          <p:cNvPicPr>
            <a:picLocks noChangeAspect="1" noChangeArrowheads="1"/>
          </p:cNvPicPr>
          <p:nvPr/>
        </p:nvPicPr>
        <p:blipFill>
          <a:blip r:embed="rId10"/>
          <a:srcRect/>
          <a:stretch>
            <a:fillRect/>
          </a:stretch>
        </p:blipFill>
        <p:spPr bwMode="auto">
          <a:xfrm>
            <a:off x="3215787" y="2375962"/>
            <a:ext cx="256443" cy="254000"/>
          </a:xfrm>
          <a:prstGeom prst="rect">
            <a:avLst/>
          </a:prstGeom>
          <a:noFill/>
          <a:ln w="9525">
            <a:noFill/>
            <a:miter lim="800000"/>
            <a:headEnd/>
            <a:tailEnd/>
          </a:ln>
        </p:spPr>
      </p:pic>
      <p:pic>
        <p:nvPicPr>
          <p:cNvPr id="340" name="Picture 428" descr="Energy icons (2)-1"/>
          <p:cNvPicPr>
            <a:picLocks noChangeAspect="1" noChangeArrowheads="1"/>
          </p:cNvPicPr>
          <p:nvPr/>
        </p:nvPicPr>
        <p:blipFill>
          <a:blip r:embed="rId11"/>
          <a:srcRect/>
          <a:stretch>
            <a:fillRect/>
          </a:stretch>
        </p:blipFill>
        <p:spPr bwMode="auto">
          <a:xfrm>
            <a:off x="3769702" y="2863325"/>
            <a:ext cx="254977" cy="254000"/>
          </a:xfrm>
          <a:prstGeom prst="rect">
            <a:avLst/>
          </a:prstGeom>
          <a:noFill/>
          <a:ln w="9525">
            <a:noFill/>
            <a:miter lim="800000"/>
            <a:headEnd/>
            <a:tailEnd/>
          </a:ln>
        </p:spPr>
      </p:pic>
      <p:pic>
        <p:nvPicPr>
          <p:cNvPr id="341" name="Picture 429" descr="Energy icons (2)-1"/>
          <p:cNvPicPr>
            <a:picLocks noChangeAspect="1" noChangeArrowheads="1"/>
          </p:cNvPicPr>
          <p:nvPr/>
        </p:nvPicPr>
        <p:blipFill>
          <a:blip r:embed="rId12"/>
          <a:srcRect/>
          <a:stretch>
            <a:fillRect/>
          </a:stretch>
        </p:blipFill>
        <p:spPr bwMode="auto">
          <a:xfrm>
            <a:off x="3590925" y="2915712"/>
            <a:ext cx="254977" cy="254000"/>
          </a:xfrm>
          <a:prstGeom prst="rect">
            <a:avLst/>
          </a:prstGeom>
          <a:noFill/>
          <a:ln w="9525">
            <a:noFill/>
            <a:miter lim="800000"/>
            <a:headEnd/>
            <a:tailEnd/>
          </a:ln>
        </p:spPr>
      </p:pic>
      <p:pic>
        <p:nvPicPr>
          <p:cNvPr id="342" name="Picture 430" descr="Energy icons (2)-1"/>
          <p:cNvPicPr>
            <a:picLocks noChangeAspect="1" noChangeArrowheads="1"/>
          </p:cNvPicPr>
          <p:nvPr/>
        </p:nvPicPr>
        <p:blipFill>
          <a:blip r:embed="rId13"/>
          <a:srcRect/>
          <a:stretch>
            <a:fillRect/>
          </a:stretch>
        </p:blipFill>
        <p:spPr bwMode="auto">
          <a:xfrm>
            <a:off x="3494210" y="3309412"/>
            <a:ext cx="254977" cy="254000"/>
          </a:xfrm>
          <a:prstGeom prst="rect">
            <a:avLst/>
          </a:prstGeom>
          <a:noFill/>
          <a:ln w="9525">
            <a:noFill/>
            <a:miter lim="800000"/>
            <a:headEnd/>
            <a:tailEnd/>
          </a:ln>
        </p:spPr>
      </p:pic>
      <p:pic>
        <p:nvPicPr>
          <p:cNvPr id="343" name="Picture 431" descr="Energy icons (2)-1"/>
          <p:cNvPicPr>
            <a:picLocks noChangeAspect="1" noChangeArrowheads="1"/>
          </p:cNvPicPr>
          <p:nvPr/>
        </p:nvPicPr>
        <p:blipFill>
          <a:blip r:embed="rId14"/>
          <a:srcRect/>
          <a:stretch>
            <a:fillRect/>
          </a:stretch>
        </p:blipFill>
        <p:spPr bwMode="auto">
          <a:xfrm>
            <a:off x="3324225" y="3288775"/>
            <a:ext cx="256443" cy="254000"/>
          </a:xfrm>
          <a:prstGeom prst="rect">
            <a:avLst/>
          </a:prstGeom>
          <a:noFill/>
          <a:ln w="9525">
            <a:noFill/>
            <a:miter lim="800000"/>
            <a:headEnd/>
            <a:tailEnd/>
          </a:ln>
        </p:spPr>
      </p:pic>
      <p:pic>
        <p:nvPicPr>
          <p:cNvPr id="345" name="Picture 433" descr="Energy icons (2)-1"/>
          <p:cNvPicPr>
            <a:picLocks noChangeAspect="1" noChangeArrowheads="1"/>
          </p:cNvPicPr>
          <p:nvPr/>
        </p:nvPicPr>
        <p:blipFill>
          <a:blip r:embed="rId15"/>
          <a:srcRect/>
          <a:stretch>
            <a:fillRect/>
          </a:stretch>
        </p:blipFill>
        <p:spPr bwMode="auto">
          <a:xfrm>
            <a:off x="3781425" y="3882500"/>
            <a:ext cx="256443" cy="254000"/>
          </a:xfrm>
          <a:prstGeom prst="rect">
            <a:avLst/>
          </a:prstGeom>
          <a:noFill/>
          <a:ln w="9525">
            <a:noFill/>
            <a:miter lim="800000"/>
            <a:headEnd/>
            <a:tailEnd/>
          </a:ln>
        </p:spPr>
      </p:pic>
      <p:pic>
        <p:nvPicPr>
          <p:cNvPr id="346" name="Picture 434" descr="Energy icons (2)-1"/>
          <p:cNvPicPr>
            <a:picLocks noChangeAspect="1" noChangeArrowheads="1"/>
          </p:cNvPicPr>
          <p:nvPr/>
        </p:nvPicPr>
        <p:blipFill>
          <a:blip r:embed="rId16"/>
          <a:srcRect/>
          <a:stretch>
            <a:fillRect/>
          </a:stretch>
        </p:blipFill>
        <p:spPr bwMode="auto">
          <a:xfrm>
            <a:off x="3958737" y="3880912"/>
            <a:ext cx="256442" cy="255588"/>
          </a:xfrm>
          <a:prstGeom prst="rect">
            <a:avLst/>
          </a:prstGeom>
          <a:noFill/>
          <a:ln w="9525">
            <a:noFill/>
            <a:miter lim="800000"/>
            <a:headEnd/>
            <a:tailEnd/>
          </a:ln>
        </p:spPr>
      </p:pic>
      <p:pic>
        <p:nvPicPr>
          <p:cNvPr id="348" name="Picture 438" descr="Energy icons (2)-1"/>
          <p:cNvPicPr>
            <a:picLocks noChangeAspect="1" noChangeArrowheads="1"/>
          </p:cNvPicPr>
          <p:nvPr/>
        </p:nvPicPr>
        <p:blipFill>
          <a:blip r:embed="rId17"/>
          <a:srcRect/>
          <a:stretch>
            <a:fillRect/>
          </a:stretch>
        </p:blipFill>
        <p:spPr bwMode="auto">
          <a:xfrm>
            <a:off x="3993892" y="4460851"/>
            <a:ext cx="256443" cy="254000"/>
          </a:xfrm>
          <a:prstGeom prst="rect">
            <a:avLst/>
          </a:prstGeom>
          <a:noFill/>
          <a:ln w="9525">
            <a:noFill/>
            <a:miter lim="800000"/>
            <a:headEnd/>
            <a:tailEnd/>
          </a:ln>
        </p:spPr>
      </p:pic>
      <p:pic>
        <p:nvPicPr>
          <p:cNvPr id="349" name="Picture 439" descr="Energy icons (2)-1"/>
          <p:cNvPicPr>
            <a:picLocks noChangeAspect="1" noChangeArrowheads="1"/>
          </p:cNvPicPr>
          <p:nvPr/>
        </p:nvPicPr>
        <p:blipFill>
          <a:blip r:embed="rId18"/>
          <a:srcRect/>
          <a:stretch>
            <a:fillRect/>
          </a:stretch>
        </p:blipFill>
        <p:spPr bwMode="auto">
          <a:xfrm>
            <a:off x="3979252" y="5187425"/>
            <a:ext cx="256442" cy="254000"/>
          </a:xfrm>
          <a:prstGeom prst="rect">
            <a:avLst/>
          </a:prstGeom>
          <a:noFill/>
          <a:ln w="9525">
            <a:noFill/>
            <a:miter lim="800000"/>
            <a:headEnd/>
            <a:tailEnd/>
          </a:ln>
        </p:spPr>
      </p:pic>
      <p:pic>
        <p:nvPicPr>
          <p:cNvPr id="352" name="Picture 442" descr="Energy icons (2)-1"/>
          <p:cNvPicPr>
            <a:picLocks noChangeAspect="1" noChangeArrowheads="1"/>
          </p:cNvPicPr>
          <p:nvPr/>
        </p:nvPicPr>
        <p:blipFill>
          <a:blip r:embed="rId19"/>
          <a:srcRect/>
          <a:stretch>
            <a:fillRect/>
          </a:stretch>
        </p:blipFill>
        <p:spPr bwMode="auto">
          <a:xfrm>
            <a:off x="3442637" y="5533703"/>
            <a:ext cx="256442" cy="254000"/>
          </a:xfrm>
          <a:prstGeom prst="rect">
            <a:avLst/>
          </a:prstGeom>
          <a:noFill/>
          <a:ln w="9525">
            <a:noFill/>
            <a:miter lim="800000"/>
            <a:headEnd/>
            <a:tailEnd/>
          </a:ln>
        </p:spPr>
      </p:pic>
      <p:pic>
        <p:nvPicPr>
          <p:cNvPr id="353" name="Picture 571" descr="Energy icons (2)-1"/>
          <p:cNvPicPr>
            <a:picLocks noChangeAspect="1" noChangeArrowheads="1"/>
          </p:cNvPicPr>
          <p:nvPr/>
        </p:nvPicPr>
        <p:blipFill>
          <a:blip r:embed="rId20"/>
          <a:srcRect/>
          <a:stretch>
            <a:fillRect/>
          </a:stretch>
        </p:blipFill>
        <p:spPr bwMode="auto">
          <a:xfrm>
            <a:off x="2871422" y="3712637"/>
            <a:ext cx="256442" cy="254000"/>
          </a:xfrm>
          <a:prstGeom prst="rect">
            <a:avLst/>
          </a:prstGeom>
          <a:noFill/>
          <a:ln w="9525">
            <a:noFill/>
            <a:miter lim="800000"/>
            <a:headEnd/>
            <a:tailEnd/>
          </a:ln>
        </p:spPr>
      </p:pic>
      <p:pic>
        <p:nvPicPr>
          <p:cNvPr id="354" name="Picture 573" descr="Energy icons (2)-1"/>
          <p:cNvPicPr>
            <a:picLocks noChangeAspect="1" noChangeArrowheads="1"/>
          </p:cNvPicPr>
          <p:nvPr/>
        </p:nvPicPr>
        <p:blipFill>
          <a:blip r:embed="rId21"/>
          <a:srcRect/>
          <a:stretch>
            <a:fillRect/>
          </a:stretch>
        </p:blipFill>
        <p:spPr bwMode="auto">
          <a:xfrm>
            <a:off x="3110279" y="4244450"/>
            <a:ext cx="256443" cy="254000"/>
          </a:xfrm>
          <a:prstGeom prst="rect">
            <a:avLst/>
          </a:prstGeom>
          <a:noFill/>
          <a:ln w="9525">
            <a:noFill/>
            <a:miter lim="800000"/>
            <a:headEnd/>
            <a:tailEnd/>
          </a:ln>
        </p:spPr>
      </p:pic>
      <p:pic>
        <p:nvPicPr>
          <p:cNvPr id="355" name="Picture 574" descr="MC900440405[1]"/>
          <p:cNvPicPr preferRelativeResize="0">
            <a:picLocks noChangeAspect="1" noChangeArrowheads="1"/>
          </p:cNvPicPr>
          <p:nvPr/>
        </p:nvPicPr>
        <p:blipFill>
          <a:blip r:embed="rId9"/>
          <a:srcRect/>
          <a:stretch>
            <a:fillRect/>
          </a:stretch>
        </p:blipFill>
        <p:spPr bwMode="auto">
          <a:xfrm>
            <a:off x="3480909" y="5748627"/>
            <a:ext cx="155331" cy="120650"/>
          </a:xfrm>
          <a:prstGeom prst="rect">
            <a:avLst/>
          </a:prstGeom>
          <a:noFill/>
          <a:ln w="9525">
            <a:noFill/>
            <a:miter lim="800000"/>
            <a:headEnd/>
            <a:tailEnd/>
          </a:ln>
        </p:spPr>
      </p:pic>
      <p:pic>
        <p:nvPicPr>
          <p:cNvPr id="358" name="Picture 570" descr="Energy icons (2)-1"/>
          <p:cNvPicPr>
            <a:picLocks noChangeAspect="1" noChangeArrowheads="1"/>
          </p:cNvPicPr>
          <p:nvPr/>
        </p:nvPicPr>
        <p:blipFill>
          <a:blip r:embed="rId22"/>
          <a:srcRect/>
          <a:stretch>
            <a:fillRect/>
          </a:stretch>
        </p:blipFill>
        <p:spPr bwMode="auto">
          <a:xfrm>
            <a:off x="4432056" y="5043493"/>
            <a:ext cx="256443" cy="254000"/>
          </a:xfrm>
          <a:prstGeom prst="rect">
            <a:avLst/>
          </a:prstGeom>
          <a:noFill/>
          <a:ln w="9525">
            <a:noFill/>
            <a:miter lim="800000"/>
            <a:headEnd/>
            <a:tailEnd/>
          </a:ln>
        </p:spPr>
      </p:pic>
      <p:pic>
        <p:nvPicPr>
          <p:cNvPr id="359" name="Picture 443" descr="Energy icons (2)-1"/>
          <p:cNvPicPr>
            <a:picLocks noChangeAspect="1" noChangeArrowheads="1"/>
          </p:cNvPicPr>
          <p:nvPr/>
        </p:nvPicPr>
        <p:blipFill>
          <a:blip r:embed="rId23"/>
          <a:srcRect/>
          <a:stretch>
            <a:fillRect/>
          </a:stretch>
        </p:blipFill>
        <p:spPr bwMode="auto">
          <a:xfrm>
            <a:off x="2629452" y="5460079"/>
            <a:ext cx="256442" cy="254000"/>
          </a:xfrm>
          <a:prstGeom prst="rect">
            <a:avLst/>
          </a:prstGeom>
          <a:noFill/>
          <a:ln w="9525">
            <a:noFill/>
            <a:miter lim="800000"/>
            <a:headEnd/>
            <a:tailEnd/>
          </a:ln>
        </p:spPr>
      </p:pic>
      <p:sp>
        <p:nvSpPr>
          <p:cNvPr id="361" name="Oval 416"/>
          <p:cNvSpPr>
            <a:spLocks noChangeAspect="1" noChangeArrowheads="1"/>
          </p:cNvSpPr>
          <p:nvPr/>
        </p:nvSpPr>
        <p:spPr bwMode="auto">
          <a:xfrm>
            <a:off x="2749561" y="1581294"/>
            <a:ext cx="133350" cy="133350"/>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0" name="Line 369"/>
          <p:cNvSpPr>
            <a:spLocks noChangeShapeType="1"/>
          </p:cNvSpPr>
          <p:nvPr/>
        </p:nvSpPr>
        <p:spPr bwMode="auto">
          <a:xfrm flipH="1" flipV="1">
            <a:off x="2591533" y="3838050"/>
            <a:ext cx="19050" cy="222250"/>
          </a:xfrm>
          <a:prstGeom prst="line">
            <a:avLst/>
          </a:prstGeom>
          <a:noFill/>
          <a:ln w="6350">
            <a:solidFill>
              <a:srgbClr val="FFD251"/>
            </a:solidFill>
            <a:round/>
            <a:headEnd/>
            <a:tailEnd/>
          </a:ln>
        </p:spPr>
        <p:txBody>
          <a:bodyPr wrap="none" lIns="46800" tIns="64800" rIns="46800" bIns="64800" anchor="ctr"/>
          <a:lstStyle/>
          <a:p>
            <a:endParaRPr lang="el-GR"/>
          </a:p>
        </p:txBody>
      </p:sp>
      <p:pic>
        <p:nvPicPr>
          <p:cNvPr id="426" name="Picture 423" descr="MC900440405[1]"/>
          <p:cNvPicPr preferRelativeResize="0">
            <a:picLocks noChangeAspect="1" noChangeArrowheads="1"/>
          </p:cNvPicPr>
          <p:nvPr/>
        </p:nvPicPr>
        <p:blipFill>
          <a:blip r:embed="rId9"/>
          <a:srcRect/>
          <a:stretch>
            <a:fillRect/>
          </a:stretch>
        </p:blipFill>
        <p:spPr bwMode="auto">
          <a:xfrm>
            <a:off x="2543827" y="3807797"/>
            <a:ext cx="155331" cy="120650"/>
          </a:xfrm>
          <a:prstGeom prst="rect">
            <a:avLst/>
          </a:prstGeom>
          <a:noFill/>
          <a:ln w="9525">
            <a:noFill/>
            <a:miter lim="800000"/>
            <a:headEnd/>
            <a:tailEnd/>
          </a:ln>
        </p:spPr>
      </p:pic>
      <p:pic>
        <p:nvPicPr>
          <p:cNvPr id="427" name="Picture 423" descr="MC900440405[1]"/>
          <p:cNvPicPr preferRelativeResize="0">
            <a:picLocks noChangeAspect="1" noChangeArrowheads="1"/>
          </p:cNvPicPr>
          <p:nvPr/>
        </p:nvPicPr>
        <p:blipFill>
          <a:blip r:embed="rId9"/>
          <a:srcRect/>
          <a:stretch>
            <a:fillRect/>
          </a:stretch>
        </p:blipFill>
        <p:spPr bwMode="auto">
          <a:xfrm>
            <a:off x="2563691" y="3982512"/>
            <a:ext cx="153865" cy="122238"/>
          </a:xfrm>
          <a:prstGeom prst="rect">
            <a:avLst/>
          </a:prstGeom>
          <a:noFill/>
          <a:ln w="9525">
            <a:noFill/>
            <a:miter lim="800000"/>
            <a:headEnd/>
            <a:tailEnd/>
          </a:ln>
        </p:spPr>
      </p:pic>
      <p:sp>
        <p:nvSpPr>
          <p:cNvPr id="428" name="Oval 325"/>
          <p:cNvSpPr>
            <a:spLocks noChangeAspect="1" noChangeArrowheads="1"/>
          </p:cNvSpPr>
          <p:nvPr/>
        </p:nvSpPr>
        <p:spPr bwMode="auto">
          <a:xfrm>
            <a:off x="3394110" y="1740274"/>
            <a:ext cx="139212" cy="142875"/>
          </a:xfrm>
          <a:prstGeom prst="ellipse">
            <a:avLst/>
          </a:prstGeom>
          <a:solidFill>
            <a:srgbClr val="00B05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30" name="Oval 414"/>
          <p:cNvSpPr>
            <a:spLocks noChangeAspect="1" noChangeArrowheads="1"/>
          </p:cNvSpPr>
          <p:nvPr/>
        </p:nvSpPr>
        <p:spPr bwMode="auto">
          <a:xfrm>
            <a:off x="1257315" y="2767405"/>
            <a:ext cx="140071" cy="140217"/>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32" name="Oval 333"/>
          <p:cNvSpPr>
            <a:spLocks noChangeAspect="1" noChangeArrowheads="1"/>
          </p:cNvSpPr>
          <p:nvPr/>
        </p:nvSpPr>
        <p:spPr bwMode="auto">
          <a:xfrm>
            <a:off x="1484368" y="3869682"/>
            <a:ext cx="141822" cy="140217"/>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34" name="Oval 400"/>
          <p:cNvSpPr>
            <a:spLocks noChangeAspect="1" noChangeArrowheads="1"/>
          </p:cNvSpPr>
          <p:nvPr/>
        </p:nvSpPr>
        <p:spPr bwMode="auto">
          <a:xfrm>
            <a:off x="1667848" y="2301466"/>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36" name="Oval 577"/>
          <p:cNvSpPr>
            <a:spLocks noChangeAspect="1" noChangeArrowheads="1"/>
          </p:cNvSpPr>
          <p:nvPr/>
        </p:nvSpPr>
        <p:spPr bwMode="auto">
          <a:xfrm>
            <a:off x="1298568" y="3006889"/>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437" name="Oval 414"/>
          <p:cNvSpPr>
            <a:spLocks noChangeAspect="1" noChangeArrowheads="1"/>
          </p:cNvSpPr>
          <p:nvPr/>
        </p:nvSpPr>
        <p:spPr bwMode="auto">
          <a:xfrm>
            <a:off x="1214584" y="3119583"/>
            <a:ext cx="140071" cy="140217"/>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39" name="Oval 578"/>
          <p:cNvSpPr>
            <a:spLocks noChangeAspect="1" noChangeArrowheads="1"/>
          </p:cNvSpPr>
          <p:nvPr/>
        </p:nvSpPr>
        <p:spPr bwMode="auto">
          <a:xfrm>
            <a:off x="1798545" y="2008730"/>
            <a:ext cx="141822" cy="140217"/>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440" name="Oval 397"/>
          <p:cNvSpPr>
            <a:spLocks noChangeAspect="1" noChangeArrowheads="1"/>
          </p:cNvSpPr>
          <p:nvPr/>
        </p:nvSpPr>
        <p:spPr bwMode="auto">
          <a:xfrm>
            <a:off x="1539208" y="2306073"/>
            <a:ext cx="141822" cy="140217"/>
          </a:xfrm>
          <a:prstGeom prst="ellipse">
            <a:avLst/>
          </a:prstGeom>
          <a:solidFill>
            <a:srgbClr val="99330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1" name="Oval 330"/>
          <p:cNvSpPr>
            <a:spLocks noChangeAspect="1" noChangeArrowheads="1"/>
          </p:cNvSpPr>
          <p:nvPr/>
        </p:nvSpPr>
        <p:spPr bwMode="auto">
          <a:xfrm>
            <a:off x="1754126" y="2145672"/>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2" name="Oval 331"/>
          <p:cNvSpPr>
            <a:spLocks noChangeAspect="1" noChangeArrowheads="1"/>
          </p:cNvSpPr>
          <p:nvPr/>
        </p:nvSpPr>
        <p:spPr bwMode="auto">
          <a:xfrm>
            <a:off x="1096921" y="2441105"/>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3" name="Oval 332"/>
          <p:cNvSpPr>
            <a:spLocks noChangeAspect="1" noChangeArrowheads="1"/>
          </p:cNvSpPr>
          <p:nvPr/>
        </p:nvSpPr>
        <p:spPr bwMode="auto">
          <a:xfrm>
            <a:off x="1255618" y="3248344"/>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4" name="Oval 334"/>
          <p:cNvSpPr>
            <a:spLocks noChangeAspect="1" noChangeArrowheads="1"/>
          </p:cNvSpPr>
          <p:nvPr/>
        </p:nvSpPr>
        <p:spPr bwMode="auto">
          <a:xfrm>
            <a:off x="1123372" y="2801287"/>
            <a:ext cx="141822"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5" name="Oval 407"/>
          <p:cNvSpPr>
            <a:spLocks noChangeAspect="1" noChangeArrowheads="1"/>
          </p:cNvSpPr>
          <p:nvPr/>
        </p:nvSpPr>
        <p:spPr bwMode="auto">
          <a:xfrm>
            <a:off x="1443767" y="2172645"/>
            <a:ext cx="141822" cy="141969"/>
          </a:xfrm>
          <a:prstGeom prst="ellipse">
            <a:avLst/>
          </a:prstGeom>
          <a:solidFill>
            <a:srgbClr val="99330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6" name="Oval 411"/>
          <p:cNvSpPr>
            <a:spLocks noChangeAspect="1" noChangeArrowheads="1"/>
          </p:cNvSpPr>
          <p:nvPr/>
        </p:nvSpPr>
        <p:spPr bwMode="auto">
          <a:xfrm>
            <a:off x="1339857" y="2012060"/>
            <a:ext cx="140071" cy="140217"/>
          </a:xfrm>
          <a:prstGeom prst="ellipse">
            <a:avLst/>
          </a:prstGeom>
          <a:solidFill>
            <a:srgbClr val="99330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7" name="Oval 422"/>
          <p:cNvSpPr>
            <a:spLocks noChangeAspect="1" noChangeArrowheads="1"/>
          </p:cNvSpPr>
          <p:nvPr/>
        </p:nvSpPr>
        <p:spPr bwMode="auto">
          <a:xfrm>
            <a:off x="1186404" y="2261453"/>
            <a:ext cx="141822" cy="141969"/>
          </a:xfrm>
          <a:prstGeom prst="ellipse">
            <a:avLst/>
          </a:prstGeom>
          <a:solidFill>
            <a:schemeClr val="bg2"/>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8" name="Oval 329"/>
          <p:cNvSpPr>
            <a:spLocks noChangeAspect="1" noChangeArrowheads="1"/>
          </p:cNvSpPr>
          <p:nvPr/>
        </p:nvSpPr>
        <p:spPr bwMode="auto">
          <a:xfrm>
            <a:off x="1634232" y="1876797"/>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49" name="Oval 329"/>
          <p:cNvSpPr>
            <a:spLocks noChangeAspect="1" noChangeArrowheads="1"/>
          </p:cNvSpPr>
          <p:nvPr/>
        </p:nvSpPr>
        <p:spPr bwMode="auto">
          <a:xfrm>
            <a:off x="1613806" y="1763221"/>
            <a:ext cx="140071"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50" name="Oval 334"/>
          <p:cNvSpPr>
            <a:spLocks noChangeAspect="1" noChangeArrowheads="1"/>
          </p:cNvSpPr>
          <p:nvPr/>
        </p:nvSpPr>
        <p:spPr bwMode="auto">
          <a:xfrm>
            <a:off x="1484077" y="2781713"/>
            <a:ext cx="141822" cy="141969"/>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51" name="Oval 580"/>
          <p:cNvSpPr>
            <a:spLocks noChangeAspect="1" noChangeArrowheads="1"/>
          </p:cNvSpPr>
          <p:nvPr/>
        </p:nvSpPr>
        <p:spPr bwMode="auto">
          <a:xfrm>
            <a:off x="2518264" y="3485625"/>
            <a:ext cx="133350" cy="133350"/>
          </a:xfrm>
          <a:prstGeom prst="ellipse">
            <a:avLst/>
          </a:prstGeom>
          <a:solidFill>
            <a:srgbClr val="00B05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52" name="Oval 370"/>
          <p:cNvSpPr>
            <a:spLocks noChangeAspect="1" noChangeArrowheads="1"/>
          </p:cNvSpPr>
          <p:nvPr/>
        </p:nvSpPr>
        <p:spPr bwMode="auto">
          <a:xfrm>
            <a:off x="2550503" y="3953937"/>
            <a:ext cx="133350" cy="133350"/>
          </a:xfrm>
          <a:prstGeom prst="ellipse">
            <a:avLst/>
          </a:prstGeom>
          <a:solidFill>
            <a:srgbClr val="00B05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pic>
        <p:nvPicPr>
          <p:cNvPr id="453" name="Picture 426" descr="Energy icons (2)-1"/>
          <p:cNvPicPr>
            <a:picLocks noChangeAspect="1" noChangeArrowheads="1"/>
          </p:cNvPicPr>
          <p:nvPr/>
        </p:nvPicPr>
        <p:blipFill>
          <a:blip r:embed="rId24"/>
          <a:srcRect/>
          <a:stretch>
            <a:fillRect/>
          </a:stretch>
        </p:blipFill>
        <p:spPr bwMode="auto">
          <a:xfrm>
            <a:off x="2010013" y="3392249"/>
            <a:ext cx="256443" cy="254000"/>
          </a:xfrm>
          <a:prstGeom prst="rect">
            <a:avLst/>
          </a:prstGeom>
          <a:noFill/>
          <a:ln w="9525">
            <a:noFill/>
            <a:miter lim="800000"/>
            <a:headEnd/>
            <a:tailEnd/>
          </a:ln>
        </p:spPr>
      </p:pic>
      <p:pic>
        <p:nvPicPr>
          <p:cNvPr id="454" name="Picture 423" descr="MC900440405[1]"/>
          <p:cNvPicPr preferRelativeResize="0">
            <a:picLocks noChangeAspect="1" noChangeArrowheads="1"/>
          </p:cNvPicPr>
          <p:nvPr/>
        </p:nvPicPr>
        <p:blipFill>
          <a:blip r:embed="rId9"/>
          <a:srcRect/>
          <a:stretch>
            <a:fillRect/>
          </a:stretch>
        </p:blipFill>
        <p:spPr bwMode="auto">
          <a:xfrm>
            <a:off x="2425212" y="3923942"/>
            <a:ext cx="153866" cy="120650"/>
          </a:xfrm>
          <a:prstGeom prst="rect">
            <a:avLst/>
          </a:prstGeom>
          <a:noFill/>
          <a:ln w="9525">
            <a:noFill/>
            <a:miter lim="800000"/>
            <a:headEnd/>
            <a:tailEnd/>
          </a:ln>
        </p:spPr>
      </p:pic>
      <p:sp>
        <p:nvSpPr>
          <p:cNvPr id="455" name="Oval 583"/>
          <p:cNvSpPr>
            <a:spLocks noChangeAspect="1" noChangeArrowheads="1"/>
          </p:cNvSpPr>
          <p:nvPr/>
        </p:nvSpPr>
        <p:spPr bwMode="auto">
          <a:xfrm>
            <a:off x="2339983" y="5451197"/>
            <a:ext cx="100120" cy="99518"/>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480" name="Oval 479"/>
          <p:cNvSpPr>
            <a:spLocks noChangeAspect="1" noChangeArrowheads="1"/>
          </p:cNvSpPr>
          <p:nvPr/>
        </p:nvSpPr>
        <p:spPr bwMode="auto">
          <a:xfrm>
            <a:off x="1401214" y="2304373"/>
            <a:ext cx="133350" cy="131762"/>
          </a:xfrm>
          <a:prstGeom prst="ellipse">
            <a:avLst/>
          </a:prstGeom>
          <a:solidFill>
            <a:srgbClr val="A0BCFE"/>
          </a:solidFill>
          <a:ln w="6350" algn="ctr">
            <a:solidFill>
              <a:schemeClr val="bg1"/>
            </a:solidFill>
            <a:round/>
            <a:headEnd/>
            <a:tailEnd/>
          </a:ln>
        </p:spPr>
        <p:txBody>
          <a:bodyPr wrap="none" lIns="33425" tIns="46280" rIns="33425" bIns="46280" anchor="ct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defTabSz="520700">
              <a:buClr>
                <a:srgbClr val="FFFFFF"/>
              </a:buClr>
              <a:tabLst>
                <a:tab pos="3060700" algn="l"/>
              </a:tabLst>
            </a:pPr>
            <a:endParaRPr lang="en-GB" sz="500" b="1">
              <a:solidFill>
                <a:srgbClr val="FFFFFF"/>
              </a:solidFill>
              <a:cs typeface="Arial" charset="0"/>
            </a:endParaRPr>
          </a:p>
        </p:txBody>
      </p:sp>
      <p:sp>
        <p:nvSpPr>
          <p:cNvPr id="481" name="Title 1"/>
          <p:cNvSpPr>
            <a:spLocks noGrp="1"/>
          </p:cNvSpPr>
          <p:nvPr>
            <p:ph type="title"/>
          </p:nvPr>
        </p:nvSpPr>
        <p:spPr>
          <a:xfrm>
            <a:off x="1132411" y="218119"/>
            <a:ext cx="7942575" cy="661988"/>
          </a:xfrm>
        </p:spPr>
        <p:txBody>
          <a:bodyPr/>
          <a:lstStyle/>
          <a:p>
            <a:pPr eaLnBrk="1" hangingPunct="1"/>
            <a:r>
              <a:rPr lang="en-US" altLang="zh-TW" b="1" dirty="0" smtClean="0">
                <a:solidFill>
                  <a:srgbClr val="002060"/>
                </a:solidFill>
              </a:rPr>
              <a:t>PPC’s installed generation capacity</a:t>
            </a:r>
            <a:endParaRPr lang="en-US" altLang="zh-TW" b="1" dirty="0">
              <a:solidFill>
                <a:srgbClr val="002060"/>
              </a:solidFill>
            </a:endParaRPr>
          </a:p>
        </p:txBody>
      </p:sp>
      <p:sp>
        <p:nvSpPr>
          <p:cNvPr id="3" name="TextBox 2"/>
          <p:cNvSpPr txBox="1"/>
          <p:nvPr/>
        </p:nvSpPr>
        <p:spPr>
          <a:xfrm>
            <a:off x="5767754" y="5787703"/>
            <a:ext cx="2957867" cy="369332"/>
          </a:xfrm>
          <a:prstGeom prst="rect">
            <a:avLst/>
          </a:prstGeom>
          <a:noFill/>
        </p:spPr>
        <p:txBody>
          <a:bodyPr wrap="square" rtlCol="0">
            <a:spAutoFit/>
          </a:bodyPr>
          <a:lstStyle/>
          <a:p>
            <a:pPr marL="182563" indent="-182563" algn="just"/>
            <a:r>
              <a:rPr lang="en-US" sz="900" i="1" baseline="30000" dirty="0" smtClean="0">
                <a:solidFill>
                  <a:srgbClr val="002060"/>
                </a:solidFill>
              </a:rPr>
              <a:t>(*)</a:t>
            </a:r>
            <a:r>
              <a:rPr lang="en-US" sz="900" i="1" dirty="0" smtClean="0">
                <a:solidFill>
                  <a:srgbClr val="002060"/>
                </a:solidFill>
              </a:rPr>
              <a:t> 	</a:t>
            </a:r>
            <a:r>
              <a:rPr lang="en-US" sz="900" i="1" dirty="0" smtClean="0">
                <a:solidFill>
                  <a:srgbClr val="002060"/>
                </a:solidFill>
              </a:rPr>
              <a:t>Including lignite </a:t>
            </a:r>
            <a:r>
              <a:rPr lang="en-US" sz="900" i="1" dirty="0" smtClean="0">
                <a:solidFill>
                  <a:srgbClr val="002060"/>
                </a:solidFill>
              </a:rPr>
              <a:t>subsidiaries “</a:t>
            </a:r>
            <a:r>
              <a:rPr lang="en-US" sz="900" i="1" dirty="0" err="1" smtClean="0">
                <a:solidFill>
                  <a:srgbClr val="002060"/>
                </a:solidFill>
              </a:rPr>
              <a:t>Lignitiki</a:t>
            </a:r>
            <a:r>
              <a:rPr lang="en-US" sz="900" i="1" dirty="0" smtClean="0">
                <a:solidFill>
                  <a:srgbClr val="002060"/>
                </a:solidFill>
              </a:rPr>
              <a:t> </a:t>
            </a:r>
            <a:r>
              <a:rPr lang="en-US" sz="900" i="1" dirty="0" err="1" smtClean="0">
                <a:solidFill>
                  <a:srgbClr val="002060"/>
                </a:solidFill>
              </a:rPr>
              <a:t>Melitis</a:t>
            </a:r>
            <a:r>
              <a:rPr lang="en-US" sz="900" i="1" dirty="0" smtClean="0">
                <a:solidFill>
                  <a:srgbClr val="002060"/>
                </a:solidFill>
              </a:rPr>
              <a:t> S.A.” and “</a:t>
            </a:r>
            <a:r>
              <a:rPr lang="en-US" sz="900" i="1" dirty="0" err="1" smtClean="0">
                <a:solidFill>
                  <a:srgbClr val="002060"/>
                </a:solidFill>
              </a:rPr>
              <a:t>Lignitiki</a:t>
            </a:r>
            <a:r>
              <a:rPr lang="en-US" sz="900" i="1" dirty="0" smtClean="0">
                <a:solidFill>
                  <a:srgbClr val="002060"/>
                </a:solidFill>
              </a:rPr>
              <a:t> Megalopolis S.A.” (930 MW in total)</a:t>
            </a:r>
            <a:endParaRPr lang="el-GR" sz="900" i="1" dirty="0">
              <a:solidFill>
                <a:srgbClr val="002060"/>
              </a:solidFill>
            </a:endParaRPr>
          </a:p>
        </p:txBody>
      </p:sp>
      <p:sp>
        <p:nvSpPr>
          <p:cNvPr id="362" name="Oval 583"/>
          <p:cNvSpPr>
            <a:spLocks noChangeAspect="1" noChangeArrowheads="1"/>
          </p:cNvSpPr>
          <p:nvPr/>
        </p:nvSpPr>
        <p:spPr bwMode="auto">
          <a:xfrm>
            <a:off x="2108081" y="5192684"/>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63" name="Oval 583"/>
          <p:cNvSpPr>
            <a:spLocks noChangeAspect="1" noChangeArrowheads="1"/>
          </p:cNvSpPr>
          <p:nvPr/>
        </p:nvSpPr>
        <p:spPr bwMode="auto">
          <a:xfrm>
            <a:off x="2421548" y="5864199"/>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64" name="Oval 583"/>
          <p:cNvSpPr>
            <a:spLocks noChangeAspect="1" noChangeArrowheads="1"/>
          </p:cNvSpPr>
          <p:nvPr/>
        </p:nvSpPr>
        <p:spPr bwMode="auto">
          <a:xfrm>
            <a:off x="380267" y="2448841"/>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65" name="Oval 583"/>
          <p:cNvSpPr>
            <a:spLocks noChangeAspect="1" noChangeArrowheads="1"/>
          </p:cNvSpPr>
          <p:nvPr/>
        </p:nvSpPr>
        <p:spPr bwMode="auto">
          <a:xfrm>
            <a:off x="493653" y="2419134"/>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66" name="Oval 583"/>
          <p:cNvSpPr>
            <a:spLocks noChangeAspect="1" noChangeArrowheads="1"/>
          </p:cNvSpPr>
          <p:nvPr/>
        </p:nvSpPr>
        <p:spPr bwMode="auto">
          <a:xfrm>
            <a:off x="3239250" y="2516192"/>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67" name="Oval 583"/>
          <p:cNvSpPr>
            <a:spLocks noChangeAspect="1" noChangeArrowheads="1"/>
          </p:cNvSpPr>
          <p:nvPr/>
        </p:nvSpPr>
        <p:spPr bwMode="auto">
          <a:xfrm>
            <a:off x="3159354" y="2803748"/>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69" name="Oval 583"/>
          <p:cNvSpPr>
            <a:spLocks noChangeAspect="1" noChangeArrowheads="1"/>
          </p:cNvSpPr>
          <p:nvPr/>
        </p:nvSpPr>
        <p:spPr bwMode="auto">
          <a:xfrm>
            <a:off x="3811094" y="3043079"/>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0" name="Oval 583"/>
          <p:cNvSpPr>
            <a:spLocks noChangeAspect="1" noChangeArrowheads="1"/>
          </p:cNvSpPr>
          <p:nvPr/>
        </p:nvSpPr>
        <p:spPr bwMode="auto">
          <a:xfrm>
            <a:off x="2848708" y="3240035"/>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1" name="Oval 583"/>
          <p:cNvSpPr>
            <a:spLocks noChangeAspect="1" noChangeArrowheads="1"/>
          </p:cNvSpPr>
          <p:nvPr/>
        </p:nvSpPr>
        <p:spPr bwMode="auto">
          <a:xfrm>
            <a:off x="3636240" y="3553962"/>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2" name="Oval 583"/>
          <p:cNvSpPr>
            <a:spLocks noChangeAspect="1" noChangeArrowheads="1"/>
          </p:cNvSpPr>
          <p:nvPr/>
        </p:nvSpPr>
        <p:spPr bwMode="auto">
          <a:xfrm>
            <a:off x="3960474" y="4070380"/>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3" name="Oval 583"/>
          <p:cNvSpPr>
            <a:spLocks noChangeAspect="1" noChangeArrowheads="1"/>
          </p:cNvSpPr>
          <p:nvPr/>
        </p:nvSpPr>
        <p:spPr bwMode="auto">
          <a:xfrm>
            <a:off x="3588651" y="4138683"/>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4" name="Oval 583"/>
          <p:cNvSpPr>
            <a:spLocks noChangeAspect="1" noChangeArrowheads="1"/>
          </p:cNvSpPr>
          <p:nvPr/>
        </p:nvSpPr>
        <p:spPr bwMode="auto">
          <a:xfrm>
            <a:off x="4039637" y="4207772"/>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5" name="Oval 583"/>
          <p:cNvSpPr>
            <a:spLocks noChangeAspect="1" noChangeArrowheads="1"/>
          </p:cNvSpPr>
          <p:nvPr/>
        </p:nvSpPr>
        <p:spPr bwMode="auto">
          <a:xfrm>
            <a:off x="3936575" y="4251431"/>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6" name="Oval 583"/>
          <p:cNvSpPr>
            <a:spLocks noChangeAspect="1" noChangeArrowheads="1"/>
          </p:cNvSpPr>
          <p:nvPr/>
        </p:nvSpPr>
        <p:spPr bwMode="auto">
          <a:xfrm>
            <a:off x="3863652" y="4312694"/>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7" name="Oval 583"/>
          <p:cNvSpPr>
            <a:spLocks noChangeAspect="1" noChangeArrowheads="1"/>
          </p:cNvSpPr>
          <p:nvPr/>
        </p:nvSpPr>
        <p:spPr bwMode="auto">
          <a:xfrm>
            <a:off x="3481921" y="4399594"/>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8" name="Oval 583"/>
          <p:cNvSpPr>
            <a:spLocks noChangeAspect="1" noChangeArrowheads="1"/>
          </p:cNvSpPr>
          <p:nvPr/>
        </p:nvSpPr>
        <p:spPr bwMode="auto">
          <a:xfrm>
            <a:off x="3253362" y="4195523"/>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79" name="Oval 583"/>
          <p:cNvSpPr>
            <a:spLocks noChangeAspect="1" noChangeArrowheads="1"/>
          </p:cNvSpPr>
          <p:nvPr/>
        </p:nvSpPr>
        <p:spPr bwMode="auto">
          <a:xfrm>
            <a:off x="3023604" y="3926063"/>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0" name="Oval 583"/>
          <p:cNvSpPr>
            <a:spLocks noChangeAspect="1" noChangeArrowheads="1"/>
          </p:cNvSpPr>
          <p:nvPr/>
        </p:nvSpPr>
        <p:spPr bwMode="auto">
          <a:xfrm>
            <a:off x="2790536" y="4247901"/>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1" name="Oval 583"/>
          <p:cNvSpPr>
            <a:spLocks noChangeAspect="1" noChangeArrowheads="1"/>
          </p:cNvSpPr>
          <p:nvPr/>
        </p:nvSpPr>
        <p:spPr bwMode="auto">
          <a:xfrm>
            <a:off x="2845590" y="4366692"/>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2" name="Oval 583"/>
          <p:cNvSpPr>
            <a:spLocks noChangeAspect="1" noChangeArrowheads="1"/>
          </p:cNvSpPr>
          <p:nvPr/>
        </p:nvSpPr>
        <p:spPr bwMode="auto">
          <a:xfrm>
            <a:off x="2930964" y="4475976"/>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3" name="Oval 583"/>
          <p:cNvSpPr>
            <a:spLocks noChangeAspect="1" noChangeArrowheads="1"/>
          </p:cNvSpPr>
          <p:nvPr/>
        </p:nvSpPr>
        <p:spPr bwMode="auto">
          <a:xfrm>
            <a:off x="2995128" y="4172866"/>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4" name="Oval 583"/>
          <p:cNvSpPr>
            <a:spLocks noChangeAspect="1" noChangeArrowheads="1"/>
          </p:cNvSpPr>
          <p:nvPr/>
        </p:nvSpPr>
        <p:spPr bwMode="auto">
          <a:xfrm>
            <a:off x="3127664" y="4440917"/>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5" name="Oval 583"/>
          <p:cNvSpPr>
            <a:spLocks noChangeAspect="1" noChangeArrowheads="1"/>
          </p:cNvSpPr>
          <p:nvPr/>
        </p:nvSpPr>
        <p:spPr bwMode="auto">
          <a:xfrm>
            <a:off x="2739538" y="4700095"/>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6" name="Oval 583"/>
          <p:cNvSpPr>
            <a:spLocks noChangeAspect="1" noChangeArrowheads="1"/>
          </p:cNvSpPr>
          <p:nvPr/>
        </p:nvSpPr>
        <p:spPr bwMode="auto">
          <a:xfrm>
            <a:off x="3242839" y="4914218"/>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7" name="Oval 583"/>
          <p:cNvSpPr>
            <a:spLocks noChangeAspect="1" noChangeArrowheads="1"/>
          </p:cNvSpPr>
          <p:nvPr/>
        </p:nvSpPr>
        <p:spPr bwMode="auto">
          <a:xfrm>
            <a:off x="3416937" y="4886919"/>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88" name="Oval 583"/>
          <p:cNvSpPr>
            <a:spLocks noChangeAspect="1" noChangeArrowheads="1"/>
          </p:cNvSpPr>
          <p:nvPr/>
        </p:nvSpPr>
        <p:spPr bwMode="auto">
          <a:xfrm>
            <a:off x="3708762" y="4783091"/>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2" name="Rectangle 1" hidden="1"/>
          <p:cNvSpPr/>
          <p:nvPr>
            <p:custDataLst>
              <p:tags r:id="rId4"/>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nSpc>
                <a:spcPct val="80000"/>
              </a:lnSpc>
            </a:pPr>
            <a:endParaRPr kumimoji="0" lang="en-US" sz="2000" b="1" u="none" strike="noStrike" cap="none" normalizeH="0" dirty="0">
              <a:ln>
                <a:noFill/>
              </a:ln>
              <a:solidFill>
                <a:schemeClr val="tx1"/>
              </a:solidFill>
              <a:effectLst/>
              <a:latin typeface="Arial" panose="020B0604020202020204" pitchFamily="34" charset="0"/>
              <a:ea typeface="Arial Unicode MS" panose="020B0604020202020204" pitchFamily="34" charset="-128"/>
              <a:cs typeface="Arial Unicode MS" pitchFamily="-109" charset="0"/>
              <a:sym typeface="Arial" panose="020B0604020202020204" pitchFamily="34" charset="0"/>
            </a:endParaRPr>
          </a:p>
        </p:txBody>
      </p:sp>
      <p:sp>
        <p:nvSpPr>
          <p:cNvPr id="389" name="Oval 583"/>
          <p:cNvSpPr>
            <a:spLocks noChangeAspect="1" noChangeArrowheads="1"/>
          </p:cNvSpPr>
          <p:nvPr/>
        </p:nvSpPr>
        <p:spPr bwMode="auto">
          <a:xfrm>
            <a:off x="4005086" y="4524804"/>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90" name="Oval 583"/>
          <p:cNvSpPr>
            <a:spLocks noChangeAspect="1" noChangeArrowheads="1"/>
          </p:cNvSpPr>
          <p:nvPr/>
        </p:nvSpPr>
        <p:spPr bwMode="auto">
          <a:xfrm>
            <a:off x="4128207" y="4668003"/>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91" name="Oval 583"/>
          <p:cNvSpPr>
            <a:spLocks noChangeAspect="1" noChangeArrowheads="1"/>
          </p:cNvSpPr>
          <p:nvPr/>
        </p:nvSpPr>
        <p:spPr bwMode="auto">
          <a:xfrm>
            <a:off x="4110399" y="5311685"/>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92" name="Oval 583"/>
          <p:cNvSpPr>
            <a:spLocks noChangeAspect="1" noChangeArrowheads="1"/>
          </p:cNvSpPr>
          <p:nvPr/>
        </p:nvSpPr>
        <p:spPr bwMode="auto">
          <a:xfrm>
            <a:off x="4490738" y="4834150"/>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93" name="Oval 583"/>
          <p:cNvSpPr>
            <a:spLocks noChangeAspect="1" noChangeArrowheads="1"/>
          </p:cNvSpPr>
          <p:nvPr/>
        </p:nvSpPr>
        <p:spPr bwMode="auto">
          <a:xfrm>
            <a:off x="3468543" y="4602984"/>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94" name="Oval 583"/>
          <p:cNvSpPr>
            <a:spLocks noChangeAspect="1" noChangeArrowheads="1"/>
          </p:cNvSpPr>
          <p:nvPr/>
        </p:nvSpPr>
        <p:spPr bwMode="auto">
          <a:xfrm>
            <a:off x="5158023" y="5069976"/>
            <a:ext cx="51401" cy="51092"/>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pic>
        <p:nvPicPr>
          <p:cNvPr id="395" name="Picture 425" descr="MC900440405[1]"/>
          <p:cNvPicPr preferRelativeResize="0">
            <a:picLocks noChangeAspect="1" noChangeArrowheads="1"/>
          </p:cNvPicPr>
          <p:nvPr/>
        </p:nvPicPr>
        <p:blipFill>
          <a:blip r:embed="rId9"/>
          <a:srcRect/>
          <a:stretch>
            <a:fillRect/>
          </a:stretch>
        </p:blipFill>
        <p:spPr bwMode="auto">
          <a:xfrm>
            <a:off x="2787904" y="4457804"/>
            <a:ext cx="155331" cy="122238"/>
          </a:xfrm>
          <a:prstGeom prst="rect">
            <a:avLst/>
          </a:prstGeom>
          <a:noFill/>
          <a:ln w="9525">
            <a:noFill/>
            <a:miter lim="800000"/>
            <a:headEnd/>
            <a:tailEnd/>
          </a:ln>
        </p:spPr>
      </p:pic>
      <p:pic>
        <p:nvPicPr>
          <p:cNvPr id="397" name="Picture 573" descr="Energy icons (2)-1"/>
          <p:cNvPicPr>
            <a:picLocks noChangeAspect="1" noChangeArrowheads="1"/>
          </p:cNvPicPr>
          <p:nvPr/>
        </p:nvPicPr>
        <p:blipFill>
          <a:blip r:embed="rId21"/>
          <a:srcRect/>
          <a:stretch>
            <a:fillRect/>
          </a:stretch>
        </p:blipFill>
        <p:spPr bwMode="auto">
          <a:xfrm>
            <a:off x="3825966" y="4244450"/>
            <a:ext cx="256443" cy="254000"/>
          </a:xfrm>
          <a:prstGeom prst="rect">
            <a:avLst/>
          </a:prstGeom>
          <a:noFill/>
          <a:ln w="9525">
            <a:noFill/>
            <a:miter lim="800000"/>
            <a:headEnd/>
            <a:tailEnd/>
          </a:ln>
        </p:spPr>
      </p:pic>
      <p:sp>
        <p:nvSpPr>
          <p:cNvPr id="398" name="Oval 583"/>
          <p:cNvSpPr>
            <a:spLocks noChangeAspect="1" noChangeArrowheads="1"/>
          </p:cNvSpPr>
          <p:nvPr/>
        </p:nvSpPr>
        <p:spPr bwMode="auto">
          <a:xfrm>
            <a:off x="2888511" y="5597589"/>
            <a:ext cx="100120" cy="99518"/>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399" name="Oval 583"/>
          <p:cNvSpPr>
            <a:spLocks noChangeAspect="1" noChangeArrowheads="1"/>
          </p:cNvSpPr>
          <p:nvPr/>
        </p:nvSpPr>
        <p:spPr bwMode="auto">
          <a:xfrm>
            <a:off x="3621698" y="5750986"/>
            <a:ext cx="100120" cy="99518"/>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401" name="Oval 583"/>
          <p:cNvSpPr>
            <a:spLocks noChangeAspect="1" noChangeArrowheads="1"/>
          </p:cNvSpPr>
          <p:nvPr/>
        </p:nvSpPr>
        <p:spPr bwMode="auto">
          <a:xfrm>
            <a:off x="4568239" y="4996004"/>
            <a:ext cx="100120" cy="99518"/>
          </a:xfrm>
          <a:prstGeom prst="ellipse">
            <a:avLst/>
          </a:prstGeom>
          <a:solidFill>
            <a:srgbClr val="740EC8"/>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500" b="1">
              <a:solidFill>
                <a:srgbClr val="FFFFFF"/>
              </a:solidFill>
              <a:cs typeface="Arial" charset="0"/>
            </a:endParaRPr>
          </a:p>
        </p:txBody>
      </p:sp>
      <p:sp>
        <p:nvSpPr>
          <p:cNvPr id="402" name="Oval 334"/>
          <p:cNvSpPr>
            <a:spLocks noChangeAspect="1" noChangeArrowheads="1"/>
          </p:cNvSpPr>
          <p:nvPr/>
        </p:nvSpPr>
        <p:spPr bwMode="auto">
          <a:xfrm>
            <a:off x="2279256" y="1717156"/>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3" name="Oval 334"/>
          <p:cNvSpPr>
            <a:spLocks noChangeAspect="1" noChangeArrowheads="1"/>
          </p:cNvSpPr>
          <p:nvPr/>
        </p:nvSpPr>
        <p:spPr bwMode="auto">
          <a:xfrm>
            <a:off x="1554894" y="1912185"/>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4" name="Oval 334"/>
          <p:cNvSpPr>
            <a:spLocks noChangeAspect="1" noChangeArrowheads="1"/>
          </p:cNvSpPr>
          <p:nvPr/>
        </p:nvSpPr>
        <p:spPr bwMode="auto">
          <a:xfrm>
            <a:off x="1458449" y="2452077"/>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5" name="Oval 334"/>
          <p:cNvSpPr>
            <a:spLocks noChangeAspect="1" noChangeArrowheads="1"/>
          </p:cNvSpPr>
          <p:nvPr/>
        </p:nvSpPr>
        <p:spPr bwMode="auto">
          <a:xfrm>
            <a:off x="1650335" y="2255721"/>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6" name="Oval 334"/>
          <p:cNvSpPr>
            <a:spLocks noChangeAspect="1" noChangeArrowheads="1"/>
          </p:cNvSpPr>
          <p:nvPr/>
        </p:nvSpPr>
        <p:spPr bwMode="auto">
          <a:xfrm>
            <a:off x="2384089" y="5561370"/>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7" name="Oval 334"/>
          <p:cNvSpPr>
            <a:spLocks noChangeAspect="1" noChangeArrowheads="1"/>
          </p:cNvSpPr>
          <p:nvPr/>
        </p:nvSpPr>
        <p:spPr bwMode="auto">
          <a:xfrm>
            <a:off x="1364638" y="2421420"/>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8" name="Oval 334"/>
          <p:cNvSpPr>
            <a:spLocks noChangeAspect="1" noChangeArrowheads="1"/>
          </p:cNvSpPr>
          <p:nvPr/>
        </p:nvSpPr>
        <p:spPr bwMode="auto">
          <a:xfrm>
            <a:off x="859855" y="2736678"/>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09" name="Oval 334"/>
          <p:cNvSpPr>
            <a:spLocks noChangeAspect="1" noChangeArrowheads="1"/>
          </p:cNvSpPr>
          <p:nvPr/>
        </p:nvSpPr>
        <p:spPr bwMode="auto">
          <a:xfrm>
            <a:off x="1787040" y="3401372"/>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1" name="Oval 334"/>
          <p:cNvSpPr>
            <a:spLocks noChangeAspect="1" noChangeArrowheads="1"/>
          </p:cNvSpPr>
          <p:nvPr/>
        </p:nvSpPr>
        <p:spPr bwMode="auto">
          <a:xfrm>
            <a:off x="1407944" y="3644375"/>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2" name="Oval 334"/>
          <p:cNvSpPr>
            <a:spLocks noChangeAspect="1" noChangeArrowheads="1"/>
          </p:cNvSpPr>
          <p:nvPr/>
        </p:nvSpPr>
        <p:spPr bwMode="auto">
          <a:xfrm>
            <a:off x="2252348" y="2042024"/>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3" name="Oval 334"/>
          <p:cNvSpPr>
            <a:spLocks noChangeAspect="1" noChangeArrowheads="1"/>
          </p:cNvSpPr>
          <p:nvPr/>
        </p:nvSpPr>
        <p:spPr bwMode="auto">
          <a:xfrm>
            <a:off x="1657656" y="2158582"/>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4" name="Oval 334"/>
          <p:cNvSpPr>
            <a:spLocks noChangeAspect="1" noChangeArrowheads="1"/>
          </p:cNvSpPr>
          <p:nvPr/>
        </p:nvSpPr>
        <p:spPr bwMode="auto">
          <a:xfrm>
            <a:off x="959465" y="2892946"/>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5" name="Oval 334"/>
          <p:cNvSpPr>
            <a:spLocks noChangeAspect="1" noChangeArrowheads="1"/>
          </p:cNvSpPr>
          <p:nvPr/>
        </p:nvSpPr>
        <p:spPr bwMode="auto">
          <a:xfrm>
            <a:off x="1573470" y="2241851"/>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7" name="Oval 334"/>
          <p:cNvSpPr>
            <a:spLocks noChangeAspect="1" noChangeArrowheads="1"/>
          </p:cNvSpPr>
          <p:nvPr/>
        </p:nvSpPr>
        <p:spPr bwMode="auto">
          <a:xfrm>
            <a:off x="2317866" y="1829446"/>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8" name="Oval 334"/>
          <p:cNvSpPr>
            <a:spLocks noChangeAspect="1" noChangeArrowheads="1"/>
          </p:cNvSpPr>
          <p:nvPr/>
        </p:nvSpPr>
        <p:spPr bwMode="auto">
          <a:xfrm>
            <a:off x="1293265" y="1912185"/>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19" name="Oval 334"/>
          <p:cNvSpPr>
            <a:spLocks noChangeAspect="1" noChangeArrowheads="1"/>
          </p:cNvSpPr>
          <p:nvPr/>
        </p:nvSpPr>
        <p:spPr bwMode="auto">
          <a:xfrm>
            <a:off x="1540359" y="2936870"/>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
        <p:nvSpPr>
          <p:cNvPr id="420" name="Oval 543"/>
          <p:cNvSpPr>
            <a:spLocks noChangeAspect="1" noChangeArrowheads="1"/>
          </p:cNvSpPr>
          <p:nvPr/>
        </p:nvSpPr>
        <p:spPr bwMode="auto">
          <a:xfrm>
            <a:off x="1843075" y="6304826"/>
            <a:ext cx="104136" cy="118655"/>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700" b="1">
              <a:solidFill>
                <a:srgbClr val="002060"/>
              </a:solidFill>
              <a:cs typeface="Arial" charset="0"/>
            </a:endParaRPr>
          </a:p>
        </p:txBody>
      </p:sp>
      <p:sp>
        <p:nvSpPr>
          <p:cNvPr id="421" name="Text Box 544"/>
          <p:cNvSpPr txBox="1">
            <a:spLocks noChangeArrowheads="1"/>
          </p:cNvSpPr>
          <p:nvPr/>
        </p:nvSpPr>
        <p:spPr bwMode="auto">
          <a:xfrm>
            <a:off x="1932917" y="6265822"/>
            <a:ext cx="1062968" cy="201186"/>
          </a:xfrm>
          <a:prstGeom prst="rect">
            <a:avLst/>
          </a:prstGeom>
          <a:noFill/>
          <a:ln w="9525">
            <a:noFill/>
            <a:miter lim="800000"/>
            <a:headEnd/>
            <a:tailEnd/>
          </a:ln>
        </p:spPr>
        <p:txBody>
          <a:bodyPr wrap="non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Small Hydro Power Plant</a:t>
            </a:r>
            <a:endParaRPr lang="en-GB" sz="700" dirty="0">
              <a:solidFill>
                <a:srgbClr val="002060"/>
              </a:solidFill>
              <a:cs typeface="Arial" charset="0"/>
            </a:endParaRPr>
          </a:p>
        </p:txBody>
      </p:sp>
      <p:sp>
        <p:nvSpPr>
          <p:cNvPr id="422" name="Oval 334"/>
          <p:cNvSpPr>
            <a:spLocks noChangeAspect="1" noChangeArrowheads="1"/>
          </p:cNvSpPr>
          <p:nvPr/>
        </p:nvSpPr>
        <p:spPr bwMode="auto">
          <a:xfrm>
            <a:off x="1340348" y="3391172"/>
            <a:ext cx="61390" cy="61454"/>
          </a:xfrm>
          <a:prstGeom prst="ellipse">
            <a:avLst/>
          </a:prstGeom>
          <a:solidFill>
            <a:srgbClr val="D5E2FF"/>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pic>
        <p:nvPicPr>
          <p:cNvPr id="423" name="Picture 442" descr="Energy icons (2)-1"/>
          <p:cNvPicPr>
            <a:picLocks noChangeAspect="1" noChangeArrowheads="1"/>
          </p:cNvPicPr>
          <p:nvPr/>
        </p:nvPicPr>
        <p:blipFill>
          <a:blip r:embed="rId19"/>
          <a:srcRect/>
          <a:stretch>
            <a:fillRect/>
          </a:stretch>
        </p:blipFill>
        <p:spPr bwMode="auto">
          <a:xfrm>
            <a:off x="3539527" y="5460079"/>
            <a:ext cx="256442" cy="254000"/>
          </a:xfrm>
          <a:prstGeom prst="rect">
            <a:avLst/>
          </a:prstGeom>
          <a:noFill/>
          <a:ln w="9525">
            <a:noFill/>
            <a:miter lim="800000"/>
            <a:headEnd/>
            <a:tailEnd/>
          </a:ln>
        </p:spPr>
      </p:pic>
      <p:sp>
        <p:nvSpPr>
          <p:cNvPr id="344" name="Oval 540"/>
          <p:cNvSpPr>
            <a:spLocks noChangeAspect="1" noChangeArrowheads="1"/>
          </p:cNvSpPr>
          <p:nvPr/>
        </p:nvSpPr>
        <p:spPr bwMode="auto">
          <a:xfrm>
            <a:off x="690767" y="6140141"/>
            <a:ext cx="104136" cy="118655"/>
          </a:xfrm>
          <a:prstGeom prst="ellipse">
            <a:avLst/>
          </a:prstGeom>
          <a:solidFill>
            <a:srgbClr val="993300"/>
          </a:solidFill>
          <a:ln w="6350" algn="ctr">
            <a:noFill/>
            <a:round/>
            <a:headEnd/>
            <a:tailEnd/>
          </a:ln>
        </p:spPr>
        <p:txBody>
          <a:bodyPr wrap="none" lIns="33425" tIns="46280" rIns="33425" bIns="46280" anchor="ctr"/>
          <a:lstStyle/>
          <a:p>
            <a:pPr defTabSz="520700">
              <a:buClr>
                <a:srgbClr val="FFFFFF"/>
              </a:buClr>
              <a:tabLst>
                <a:tab pos="3060700" algn="l"/>
              </a:tabLst>
            </a:pPr>
            <a:endParaRPr lang="ru-RU" sz="700" b="1">
              <a:solidFill>
                <a:srgbClr val="002060"/>
              </a:solidFill>
              <a:cs typeface="Arial" charset="0"/>
            </a:endParaRPr>
          </a:p>
        </p:txBody>
      </p:sp>
      <p:sp>
        <p:nvSpPr>
          <p:cNvPr id="347" name="Text Box 541"/>
          <p:cNvSpPr txBox="1">
            <a:spLocks noChangeArrowheads="1"/>
          </p:cNvSpPr>
          <p:nvPr/>
        </p:nvSpPr>
        <p:spPr bwMode="auto">
          <a:xfrm>
            <a:off x="776527" y="6094047"/>
            <a:ext cx="862441" cy="531750"/>
          </a:xfrm>
          <a:prstGeom prst="rect">
            <a:avLst/>
          </a:prstGeom>
          <a:noFill/>
          <a:ln w="9525">
            <a:noFill/>
            <a:miter lim="800000"/>
            <a:headEnd/>
            <a:tailEnd/>
          </a:ln>
        </p:spPr>
        <p:txBody>
          <a:bodyPr wrap="none" lIns="33425" tIns="46280" rIns="33425" bIns="46280">
            <a:spAutoFit/>
          </a:bodyPr>
          <a:lstStyle/>
          <a:p>
            <a:pPr defTabSz="728663">
              <a:spcBef>
                <a:spcPct val="50000"/>
              </a:spcBef>
              <a:buClr>
                <a:srgbClr val="FFFFFF"/>
              </a:buClr>
              <a:tabLst>
                <a:tab pos="4286250" algn="l"/>
              </a:tabLst>
            </a:pPr>
            <a:r>
              <a:rPr lang="en-GB" sz="700" dirty="0">
                <a:solidFill>
                  <a:srgbClr val="002060"/>
                </a:solidFill>
                <a:cs typeface="Arial" charset="0"/>
              </a:rPr>
              <a:t>Lignite Power Plant</a:t>
            </a:r>
          </a:p>
          <a:p>
            <a:pPr defTabSz="728663">
              <a:spcBef>
                <a:spcPct val="50000"/>
              </a:spcBef>
              <a:buClr>
                <a:srgbClr val="FFFFFF"/>
              </a:buClr>
              <a:tabLst>
                <a:tab pos="4286250" algn="l"/>
              </a:tabLst>
            </a:pPr>
            <a:endParaRPr lang="en-GB" sz="700" dirty="0">
              <a:solidFill>
                <a:srgbClr val="002060"/>
              </a:solidFill>
              <a:cs typeface="Arial" charset="0"/>
            </a:endParaRPr>
          </a:p>
        </p:txBody>
      </p:sp>
      <p:sp>
        <p:nvSpPr>
          <p:cNvPr id="350" name="Oval 543"/>
          <p:cNvSpPr>
            <a:spLocks noChangeAspect="1" noChangeArrowheads="1"/>
          </p:cNvSpPr>
          <p:nvPr/>
        </p:nvSpPr>
        <p:spPr bwMode="auto">
          <a:xfrm>
            <a:off x="1843066" y="6133051"/>
            <a:ext cx="104136" cy="118655"/>
          </a:xfrm>
          <a:prstGeom prst="ellipse">
            <a:avLst/>
          </a:prstGeom>
          <a:solidFill>
            <a:srgbClr val="A0BCFE"/>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ru-RU" sz="700" b="1">
              <a:solidFill>
                <a:srgbClr val="002060"/>
              </a:solidFill>
              <a:cs typeface="Arial" charset="0"/>
            </a:endParaRPr>
          </a:p>
        </p:txBody>
      </p:sp>
      <p:sp>
        <p:nvSpPr>
          <p:cNvPr id="351" name="Text Box 544"/>
          <p:cNvSpPr txBox="1">
            <a:spLocks noChangeArrowheads="1"/>
          </p:cNvSpPr>
          <p:nvPr/>
        </p:nvSpPr>
        <p:spPr bwMode="auto">
          <a:xfrm>
            <a:off x="1932912" y="6094047"/>
            <a:ext cx="814503" cy="201187"/>
          </a:xfrm>
          <a:prstGeom prst="rect">
            <a:avLst/>
          </a:prstGeom>
          <a:noFill/>
          <a:ln w="9525">
            <a:noFill/>
            <a:miter lim="800000"/>
            <a:headEnd/>
            <a:tailEnd/>
          </a:ln>
        </p:spPr>
        <p:txBody>
          <a:bodyPr wrap="non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Hydro Power Plant</a:t>
            </a:r>
            <a:endParaRPr lang="en-GB" sz="700" dirty="0">
              <a:solidFill>
                <a:srgbClr val="002060"/>
              </a:solidFill>
              <a:cs typeface="Arial" charset="0"/>
            </a:endParaRPr>
          </a:p>
        </p:txBody>
      </p:sp>
      <p:sp>
        <p:nvSpPr>
          <p:cNvPr id="356" name="Oval 546"/>
          <p:cNvSpPr>
            <a:spLocks noChangeAspect="1" noChangeArrowheads="1"/>
          </p:cNvSpPr>
          <p:nvPr/>
        </p:nvSpPr>
        <p:spPr bwMode="auto">
          <a:xfrm>
            <a:off x="3143202" y="6144040"/>
            <a:ext cx="104136" cy="118655"/>
          </a:xfrm>
          <a:prstGeom prst="ellipse">
            <a:avLst/>
          </a:prstGeom>
          <a:solidFill>
            <a:srgbClr val="00B050"/>
          </a:solidFill>
          <a:ln w="9525">
            <a:noFill/>
            <a:round/>
            <a:headEnd/>
            <a:tailEnd/>
          </a:ln>
        </p:spPr>
        <p:txBody>
          <a:bodyPr wrap="none" lIns="33425" tIns="46280" rIns="33425" bIns="46280" anchor="ctr"/>
          <a:lstStyle/>
          <a:p>
            <a:pPr defTabSz="520700">
              <a:buClr>
                <a:srgbClr val="FFFFFF"/>
              </a:buClr>
              <a:tabLst>
                <a:tab pos="3060700" algn="l"/>
              </a:tabLst>
            </a:pPr>
            <a:endParaRPr lang="ru-RU" sz="700" b="1">
              <a:solidFill>
                <a:srgbClr val="002060"/>
              </a:solidFill>
              <a:cs typeface="Arial" charset="0"/>
            </a:endParaRPr>
          </a:p>
        </p:txBody>
      </p:sp>
      <p:sp>
        <p:nvSpPr>
          <p:cNvPr id="357" name="Text Box 547"/>
          <p:cNvSpPr txBox="1">
            <a:spLocks noChangeArrowheads="1"/>
          </p:cNvSpPr>
          <p:nvPr/>
        </p:nvSpPr>
        <p:spPr bwMode="auto">
          <a:xfrm>
            <a:off x="3239645" y="6094047"/>
            <a:ext cx="945948" cy="201186"/>
          </a:xfrm>
          <a:prstGeom prst="rect">
            <a:avLst/>
          </a:prstGeom>
          <a:noFill/>
          <a:ln w="9525">
            <a:noFill/>
            <a:miter lim="800000"/>
            <a:headEnd/>
            <a:tailEnd/>
          </a:ln>
        </p:spPr>
        <p:txBody>
          <a:bodyPr wrap="non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Gas-fired Power Plant</a:t>
            </a:r>
            <a:endParaRPr lang="en-GB" sz="700" dirty="0">
              <a:solidFill>
                <a:srgbClr val="002060"/>
              </a:solidFill>
              <a:cs typeface="Arial" charset="0"/>
            </a:endParaRPr>
          </a:p>
        </p:txBody>
      </p:sp>
      <p:pic>
        <p:nvPicPr>
          <p:cNvPr id="360" name="Picture 549" descr="MC900440405[1]"/>
          <p:cNvPicPr preferRelativeResize="0">
            <a:picLocks noChangeAspect="1" noChangeArrowheads="1"/>
          </p:cNvPicPr>
          <p:nvPr/>
        </p:nvPicPr>
        <p:blipFill>
          <a:blip r:embed="rId25"/>
          <a:srcRect/>
          <a:stretch>
            <a:fillRect/>
          </a:stretch>
        </p:blipFill>
        <p:spPr bwMode="auto">
          <a:xfrm>
            <a:off x="3087547" y="6300225"/>
            <a:ext cx="179321" cy="158279"/>
          </a:xfrm>
          <a:prstGeom prst="rect">
            <a:avLst/>
          </a:prstGeom>
          <a:noFill/>
          <a:ln w="9525">
            <a:noFill/>
            <a:miter lim="800000"/>
            <a:headEnd/>
            <a:tailEnd/>
          </a:ln>
        </p:spPr>
      </p:pic>
      <p:sp>
        <p:nvSpPr>
          <p:cNvPr id="368" name="Text Box 550"/>
          <p:cNvSpPr txBox="1">
            <a:spLocks noChangeArrowheads="1"/>
          </p:cNvSpPr>
          <p:nvPr/>
        </p:nvSpPr>
        <p:spPr bwMode="auto">
          <a:xfrm>
            <a:off x="3246794" y="6273259"/>
            <a:ext cx="1062968" cy="201186"/>
          </a:xfrm>
          <a:prstGeom prst="rect">
            <a:avLst/>
          </a:prstGeom>
          <a:noFill/>
          <a:ln w="9525">
            <a:noFill/>
            <a:miter lim="800000"/>
            <a:headEnd/>
            <a:tailEnd/>
          </a:ln>
        </p:spPr>
        <p:txBody>
          <a:bodyPr wrap="non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Photovoltaic Power Plant</a:t>
            </a:r>
            <a:endParaRPr lang="en-GB" sz="700" dirty="0">
              <a:solidFill>
                <a:srgbClr val="002060"/>
              </a:solidFill>
              <a:cs typeface="Arial" charset="0"/>
            </a:endParaRPr>
          </a:p>
        </p:txBody>
      </p:sp>
      <p:pic>
        <p:nvPicPr>
          <p:cNvPr id="396" name="Picture 551" descr="Energy icons (2)-1"/>
          <p:cNvPicPr>
            <a:picLocks noChangeAspect="1" noChangeArrowheads="1"/>
          </p:cNvPicPr>
          <p:nvPr/>
        </p:nvPicPr>
        <p:blipFill>
          <a:blip r:embed="rId26"/>
          <a:srcRect/>
          <a:stretch>
            <a:fillRect/>
          </a:stretch>
        </p:blipFill>
        <p:spPr bwMode="auto">
          <a:xfrm>
            <a:off x="4423164" y="6277125"/>
            <a:ext cx="132722" cy="148899"/>
          </a:xfrm>
          <a:prstGeom prst="rect">
            <a:avLst/>
          </a:prstGeom>
          <a:noFill/>
          <a:ln w="9525">
            <a:noFill/>
            <a:miter lim="800000"/>
            <a:headEnd/>
            <a:tailEnd/>
          </a:ln>
        </p:spPr>
      </p:pic>
      <p:sp>
        <p:nvSpPr>
          <p:cNvPr id="400" name="Text Box 552"/>
          <p:cNvSpPr txBox="1">
            <a:spLocks noChangeArrowheads="1"/>
          </p:cNvSpPr>
          <p:nvPr/>
        </p:nvSpPr>
        <p:spPr bwMode="auto">
          <a:xfrm>
            <a:off x="4529264" y="6270380"/>
            <a:ext cx="712277" cy="201186"/>
          </a:xfrm>
          <a:prstGeom prst="rect">
            <a:avLst/>
          </a:prstGeom>
          <a:noFill/>
          <a:ln w="9525">
            <a:noFill/>
            <a:miter lim="800000"/>
            <a:headEnd/>
            <a:tailEnd/>
          </a:ln>
        </p:spPr>
        <p:txBody>
          <a:bodyPr wrap="squar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Wind Park</a:t>
            </a:r>
            <a:endParaRPr lang="en-GB" sz="700" dirty="0">
              <a:solidFill>
                <a:srgbClr val="002060"/>
              </a:solidFill>
              <a:cs typeface="Arial" charset="0"/>
            </a:endParaRPr>
          </a:p>
        </p:txBody>
      </p:sp>
      <p:sp>
        <p:nvSpPr>
          <p:cNvPr id="416" name="Oval 553"/>
          <p:cNvSpPr>
            <a:spLocks noChangeAspect="1" noChangeArrowheads="1"/>
          </p:cNvSpPr>
          <p:nvPr/>
        </p:nvSpPr>
        <p:spPr bwMode="auto">
          <a:xfrm>
            <a:off x="685265" y="6307401"/>
            <a:ext cx="102093" cy="116327"/>
          </a:xfrm>
          <a:prstGeom prst="ellipse">
            <a:avLst/>
          </a:prstGeom>
          <a:solidFill>
            <a:schemeClr val="bg2"/>
          </a:solidFill>
          <a:ln w="9525">
            <a:noFill/>
            <a:round/>
            <a:headEnd/>
            <a:tailEnd/>
          </a:ln>
        </p:spPr>
        <p:txBody>
          <a:bodyPr wrap="none" lIns="33425" tIns="46280" rIns="33425" bIns="46280" anchor="ctr"/>
          <a:lstStyle/>
          <a:p>
            <a:pPr defTabSz="520700">
              <a:buClr>
                <a:srgbClr val="FFFFFF"/>
              </a:buClr>
              <a:tabLst>
                <a:tab pos="3060700" algn="l"/>
              </a:tabLst>
            </a:pPr>
            <a:endParaRPr lang="ru-RU" sz="700" b="1">
              <a:solidFill>
                <a:srgbClr val="002060"/>
              </a:solidFill>
              <a:cs typeface="Arial" charset="0"/>
            </a:endParaRPr>
          </a:p>
        </p:txBody>
      </p:sp>
      <p:sp>
        <p:nvSpPr>
          <p:cNvPr id="424" name="Text Box 554"/>
          <p:cNvSpPr txBox="1">
            <a:spLocks noChangeArrowheads="1"/>
          </p:cNvSpPr>
          <p:nvPr/>
        </p:nvSpPr>
        <p:spPr bwMode="auto">
          <a:xfrm>
            <a:off x="785167" y="6275063"/>
            <a:ext cx="910591" cy="201186"/>
          </a:xfrm>
          <a:prstGeom prst="rect">
            <a:avLst/>
          </a:prstGeom>
          <a:noFill/>
          <a:ln w="9525">
            <a:noFill/>
            <a:miter lim="800000"/>
            <a:headEnd/>
            <a:tailEnd/>
          </a:ln>
        </p:spPr>
        <p:txBody>
          <a:bodyPr wrap="squar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Lignite Mine Center</a:t>
            </a:r>
            <a:endParaRPr lang="en-GB" sz="700" dirty="0">
              <a:solidFill>
                <a:srgbClr val="002060"/>
              </a:solidFill>
              <a:cs typeface="Arial" charset="0"/>
            </a:endParaRPr>
          </a:p>
        </p:txBody>
      </p:sp>
      <p:sp>
        <p:nvSpPr>
          <p:cNvPr id="425" name="Oval 556"/>
          <p:cNvSpPr>
            <a:spLocks noChangeAspect="1" noChangeArrowheads="1"/>
          </p:cNvSpPr>
          <p:nvPr/>
        </p:nvSpPr>
        <p:spPr bwMode="auto">
          <a:xfrm>
            <a:off x="4435544" y="6139921"/>
            <a:ext cx="102093" cy="116327"/>
          </a:xfrm>
          <a:prstGeom prst="ellipse">
            <a:avLst/>
          </a:prstGeom>
          <a:solidFill>
            <a:srgbClr val="6B00D6"/>
          </a:solidFill>
          <a:ln w="9525">
            <a:noFill/>
            <a:round/>
            <a:headEnd/>
            <a:tailEnd/>
          </a:ln>
        </p:spPr>
        <p:txBody>
          <a:bodyPr wrap="none" lIns="33425" tIns="46280" rIns="33425" bIns="46280" anchor="ctr"/>
          <a:lstStyle/>
          <a:p>
            <a:pPr defTabSz="520700">
              <a:buClr>
                <a:srgbClr val="FFFFFF"/>
              </a:buClr>
              <a:tabLst>
                <a:tab pos="3060700" algn="l"/>
              </a:tabLst>
            </a:pPr>
            <a:endParaRPr lang="ru-RU" sz="700" b="1">
              <a:solidFill>
                <a:srgbClr val="002060"/>
              </a:solidFill>
              <a:cs typeface="Arial" charset="0"/>
            </a:endParaRPr>
          </a:p>
        </p:txBody>
      </p:sp>
      <p:sp>
        <p:nvSpPr>
          <p:cNvPr id="429" name="Text Box 557"/>
          <p:cNvSpPr txBox="1">
            <a:spLocks noChangeArrowheads="1"/>
          </p:cNvSpPr>
          <p:nvPr/>
        </p:nvSpPr>
        <p:spPr bwMode="auto">
          <a:xfrm>
            <a:off x="4517222" y="6094047"/>
            <a:ext cx="684659" cy="201186"/>
          </a:xfrm>
          <a:prstGeom prst="rect">
            <a:avLst/>
          </a:prstGeom>
          <a:noFill/>
          <a:ln w="9525">
            <a:noFill/>
            <a:miter lim="800000"/>
            <a:headEnd/>
            <a:tailEnd/>
          </a:ln>
        </p:spPr>
        <p:txBody>
          <a:bodyPr wrap="none" lIns="33425" tIns="46280" rIns="33425" bIns="46280">
            <a:spAutoFit/>
          </a:bodyPr>
          <a:lstStyle/>
          <a:p>
            <a:pPr defTabSz="728663">
              <a:spcBef>
                <a:spcPct val="50000"/>
              </a:spcBef>
              <a:buClr>
                <a:srgbClr val="FFFFFF"/>
              </a:buClr>
              <a:tabLst>
                <a:tab pos="4286250" algn="l"/>
              </a:tabLst>
            </a:pPr>
            <a:r>
              <a:rPr lang="en-US" sz="700" dirty="0" smtClean="0">
                <a:solidFill>
                  <a:srgbClr val="002060"/>
                </a:solidFill>
                <a:cs typeface="Arial" charset="0"/>
              </a:rPr>
              <a:t>Oil Power Plant</a:t>
            </a:r>
            <a:endParaRPr lang="en-GB" sz="700" dirty="0">
              <a:solidFill>
                <a:srgbClr val="002060"/>
              </a:solidFill>
              <a:cs typeface="Arial" charset="0"/>
            </a:endParaRPr>
          </a:p>
        </p:txBody>
      </p:sp>
      <p:sp>
        <p:nvSpPr>
          <p:cNvPr id="456" name="Oval 580"/>
          <p:cNvSpPr>
            <a:spLocks noChangeAspect="1" noChangeArrowheads="1"/>
          </p:cNvSpPr>
          <p:nvPr/>
        </p:nvSpPr>
        <p:spPr bwMode="auto">
          <a:xfrm>
            <a:off x="1619825" y="4052042"/>
            <a:ext cx="133350" cy="133350"/>
          </a:xfrm>
          <a:prstGeom prst="ellipse">
            <a:avLst/>
          </a:prstGeom>
          <a:solidFill>
            <a:srgbClr val="00B050"/>
          </a:solidFill>
          <a:ln w="6350" algn="ctr">
            <a:solidFill>
              <a:schemeClr val="bg1"/>
            </a:solidFill>
            <a:round/>
            <a:headEnd/>
            <a:tailEnd/>
          </a:ln>
        </p:spPr>
        <p:txBody>
          <a:bodyPr wrap="none" lIns="33425" tIns="46280" rIns="33425" bIns="46280" anchor="ctr"/>
          <a:lstStyle/>
          <a:p>
            <a:pPr defTabSz="520700">
              <a:buClr>
                <a:srgbClr val="FFFFFF"/>
              </a:buClr>
              <a:tabLst>
                <a:tab pos="3060700" algn="l"/>
              </a:tabLst>
            </a:pPr>
            <a:endParaRPr lang="en-GB" sz="500" b="1">
              <a:solidFill>
                <a:srgbClr val="FFFFFF"/>
              </a:solidFill>
              <a:cs typeface="Arial" charset="0"/>
            </a:endParaRPr>
          </a:p>
        </p:txBody>
      </p:sp>
    </p:spTree>
    <p:extLst>
      <p:ext uri="{BB962C8B-B14F-4D97-AF65-F5344CB8AC3E}">
        <p14:creationId xmlns:p14="http://schemas.microsoft.com/office/powerpoint/2010/main" val="30172013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Τίτλος 1"/>
          <p:cNvSpPr>
            <a:spLocks noGrp="1"/>
          </p:cNvSpPr>
          <p:nvPr>
            <p:ph type="title"/>
          </p:nvPr>
        </p:nvSpPr>
        <p:spPr/>
        <p:txBody>
          <a:bodyPr/>
          <a:lstStyle/>
          <a:p>
            <a:r>
              <a:rPr lang="en-US" altLang="zh-TW" b="1" dirty="0">
                <a:solidFill>
                  <a:srgbClr val="002060"/>
                </a:solidFill>
              </a:rPr>
              <a:t>Generation (2018, interconnected system)</a:t>
            </a:r>
            <a:endParaRPr lang="el-GR" altLang="zh-TW" b="1" dirty="0">
              <a:solidFill>
                <a:srgbClr val="002060"/>
              </a:solidFill>
            </a:endParaRPr>
          </a:p>
        </p:txBody>
      </p:sp>
      <p:pic>
        <p:nvPicPr>
          <p:cNvPr id="2252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2007" y="1005013"/>
            <a:ext cx="7933428" cy="34151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5753354" y="1116388"/>
            <a:ext cx="1240882" cy="261610"/>
          </a:xfrm>
          <a:prstGeom prst="rect">
            <a:avLst/>
          </a:prstGeom>
          <a:solidFill>
            <a:schemeClr val="bg1">
              <a:alpha val="2000"/>
            </a:schemeClr>
          </a:solidFill>
        </p:spPr>
        <p:txBody>
          <a:bodyPr wrap="square" rtlCol="0">
            <a:spAutoFit/>
          </a:bodyPr>
          <a:lstStyle/>
          <a:p>
            <a:pPr algn="ctr"/>
            <a:r>
              <a:rPr lang="en-US" b="1" dirty="0" smtClean="0">
                <a:solidFill>
                  <a:schemeClr val="bg2"/>
                </a:solidFill>
                <a:latin typeface="Times New Roman" panose="02020603050405020304" pitchFamily="18" charset="0"/>
                <a:cs typeface="Times New Roman" panose="02020603050405020304" pitchFamily="18" charset="0"/>
              </a:rPr>
              <a:t>HYDRO</a:t>
            </a:r>
            <a:endParaRPr lang="el-GR" b="1" dirty="0">
              <a:solidFill>
                <a:schemeClr val="bg2"/>
              </a:solidFill>
              <a:latin typeface="Times New Roman" panose="02020603050405020304" pitchFamily="18" charset="0"/>
              <a:cs typeface="Times New Roman" panose="02020603050405020304" pitchFamily="18" charset="0"/>
            </a:endParaRPr>
          </a:p>
        </p:txBody>
      </p:sp>
      <p:sp>
        <p:nvSpPr>
          <p:cNvPr id="5" name="TextBox 4"/>
          <p:cNvSpPr txBox="1"/>
          <p:nvPr/>
        </p:nvSpPr>
        <p:spPr>
          <a:xfrm>
            <a:off x="6566789" y="1686351"/>
            <a:ext cx="854893" cy="261610"/>
          </a:xfrm>
          <a:prstGeom prst="rect">
            <a:avLst/>
          </a:prstGeom>
          <a:solidFill>
            <a:schemeClr val="bg1">
              <a:alpha val="0"/>
            </a:schemeClr>
          </a:solidFill>
        </p:spPr>
        <p:txBody>
          <a:bodyPr wrap="square" rtlCol="0">
            <a:spAutoFit/>
          </a:bodyPr>
          <a:lstStyle/>
          <a:p>
            <a:pPr algn="ctr"/>
            <a:r>
              <a:rPr lang="en-US" b="1" dirty="0" smtClean="0">
                <a:solidFill>
                  <a:schemeClr val="bg2"/>
                </a:solidFill>
                <a:latin typeface="Times New Roman" panose="02020603050405020304" pitchFamily="18" charset="0"/>
                <a:cs typeface="Times New Roman" panose="02020603050405020304" pitchFamily="18" charset="0"/>
              </a:rPr>
              <a:t>OTHER</a:t>
            </a:r>
            <a:endParaRPr lang="el-GR" sz="1050" b="1" dirty="0">
              <a:solidFill>
                <a:schemeClr val="bg2"/>
              </a:solidFill>
              <a:latin typeface="Times New Roman" panose="02020603050405020304" pitchFamily="18" charset="0"/>
              <a:cs typeface="Times New Roman" panose="02020603050405020304" pitchFamily="18" charset="0"/>
            </a:endParaRPr>
          </a:p>
        </p:txBody>
      </p:sp>
      <p:sp>
        <p:nvSpPr>
          <p:cNvPr id="6" name="TextBox 5"/>
          <p:cNvSpPr txBox="1"/>
          <p:nvPr/>
        </p:nvSpPr>
        <p:spPr>
          <a:xfrm>
            <a:off x="6209534" y="2336131"/>
            <a:ext cx="1919027" cy="276999"/>
          </a:xfrm>
          <a:prstGeom prst="rect">
            <a:avLst/>
          </a:prstGeom>
          <a:solidFill>
            <a:schemeClr val="bg1">
              <a:alpha val="0"/>
            </a:schemeClr>
          </a:solidFill>
        </p:spPr>
        <p:txBody>
          <a:bodyPr wrap="square" rtlCol="0">
            <a:spAutoFit/>
          </a:bodyPr>
          <a:lstStyle/>
          <a:p>
            <a:pPr algn="ctr"/>
            <a:r>
              <a:rPr lang="en-US" sz="1200" b="1" dirty="0" smtClean="0">
                <a:solidFill>
                  <a:schemeClr val="bg2"/>
                </a:solidFill>
                <a:latin typeface="Times New Roman" panose="02020603050405020304" pitchFamily="18" charset="0"/>
                <a:cs typeface="Times New Roman" panose="02020603050405020304" pitchFamily="18" charset="0"/>
              </a:rPr>
              <a:t>RENEWABLES (H/V)</a:t>
            </a:r>
            <a:endParaRPr lang="el-GR" sz="1200" b="1" dirty="0">
              <a:solidFill>
                <a:schemeClr val="bg2"/>
              </a:solidFill>
              <a:latin typeface="Times New Roman" panose="02020603050405020304" pitchFamily="18" charset="0"/>
              <a:cs typeface="Times New Roman" panose="02020603050405020304" pitchFamily="18" charset="0"/>
            </a:endParaRPr>
          </a:p>
        </p:txBody>
      </p:sp>
      <p:sp>
        <p:nvSpPr>
          <p:cNvPr id="9" name="TextBox 8"/>
          <p:cNvSpPr txBox="1"/>
          <p:nvPr/>
        </p:nvSpPr>
        <p:spPr>
          <a:xfrm>
            <a:off x="4821084" y="3975107"/>
            <a:ext cx="2347963" cy="461665"/>
          </a:xfrm>
          <a:prstGeom prst="rect">
            <a:avLst/>
          </a:prstGeom>
          <a:solidFill>
            <a:schemeClr val="bg1">
              <a:alpha val="0"/>
            </a:schemeClr>
          </a:solidFill>
        </p:spPr>
        <p:txBody>
          <a:bodyPr wrap="square" rtlCol="0">
            <a:spAutoFit/>
          </a:bodyPr>
          <a:lstStyle/>
          <a:p>
            <a:pPr algn="ctr"/>
            <a:r>
              <a:rPr lang="en-US" sz="1200" b="1" dirty="0" smtClean="0">
                <a:solidFill>
                  <a:schemeClr val="bg2"/>
                </a:solidFill>
                <a:latin typeface="Times New Roman" panose="02020603050405020304" pitchFamily="18" charset="0"/>
                <a:cs typeface="Times New Roman" panose="02020603050405020304" pitchFamily="18" charset="0"/>
              </a:rPr>
              <a:t>INTERCONNECTIONS BALANCE</a:t>
            </a:r>
            <a:endParaRPr lang="el-GR" sz="1200" b="1" dirty="0">
              <a:solidFill>
                <a:schemeClr val="bg2"/>
              </a:solidFill>
              <a:latin typeface="Times New Roman" panose="02020603050405020304" pitchFamily="18" charset="0"/>
              <a:cs typeface="Times New Roman" panose="02020603050405020304" pitchFamily="18" charset="0"/>
            </a:endParaRPr>
          </a:p>
        </p:txBody>
      </p:sp>
      <p:sp>
        <p:nvSpPr>
          <p:cNvPr id="10" name="TextBox 9"/>
          <p:cNvSpPr txBox="1"/>
          <p:nvPr/>
        </p:nvSpPr>
        <p:spPr>
          <a:xfrm>
            <a:off x="3127270" y="1159258"/>
            <a:ext cx="1311835" cy="276999"/>
          </a:xfrm>
          <a:prstGeom prst="rect">
            <a:avLst/>
          </a:prstGeom>
          <a:solidFill>
            <a:schemeClr val="bg1">
              <a:alpha val="0"/>
            </a:schemeClr>
          </a:solidFill>
        </p:spPr>
        <p:txBody>
          <a:bodyPr wrap="square" rtlCol="0">
            <a:spAutoFit/>
          </a:bodyPr>
          <a:lstStyle/>
          <a:p>
            <a:pPr algn="ctr"/>
            <a:r>
              <a:rPr lang="en-US" sz="1200" b="1" dirty="0" smtClean="0">
                <a:solidFill>
                  <a:schemeClr val="bg2"/>
                </a:solidFill>
                <a:latin typeface="Times New Roman" panose="02020603050405020304" pitchFamily="18" charset="0"/>
                <a:cs typeface="Times New Roman" panose="02020603050405020304" pitchFamily="18" charset="0"/>
              </a:rPr>
              <a:t>NATURAL GAS</a:t>
            </a:r>
            <a:endParaRPr lang="el-GR" sz="1200" b="1" dirty="0">
              <a:solidFill>
                <a:schemeClr val="bg2"/>
              </a:solidFill>
              <a:latin typeface="Times New Roman" panose="02020603050405020304" pitchFamily="18" charset="0"/>
              <a:cs typeface="Times New Roman" panose="02020603050405020304" pitchFamily="18" charset="0"/>
            </a:endParaRPr>
          </a:p>
        </p:txBody>
      </p:sp>
      <p:sp>
        <p:nvSpPr>
          <p:cNvPr id="11" name="TextBox 10"/>
          <p:cNvSpPr txBox="1"/>
          <p:nvPr/>
        </p:nvSpPr>
        <p:spPr>
          <a:xfrm>
            <a:off x="2201420" y="2246703"/>
            <a:ext cx="925850" cy="276999"/>
          </a:xfrm>
          <a:prstGeom prst="rect">
            <a:avLst/>
          </a:prstGeom>
          <a:solidFill>
            <a:schemeClr val="bg1">
              <a:alpha val="0"/>
            </a:schemeClr>
          </a:solidFill>
        </p:spPr>
        <p:txBody>
          <a:bodyPr wrap="square" rtlCol="0">
            <a:spAutoFit/>
          </a:bodyPr>
          <a:lstStyle/>
          <a:p>
            <a:r>
              <a:rPr lang="en-US" sz="1200" b="1" dirty="0" smtClean="0">
                <a:solidFill>
                  <a:schemeClr val="bg2"/>
                </a:solidFill>
                <a:latin typeface="Times New Roman" panose="02020603050405020304" pitchFamily="18" charset="0"/>
                <a:cs typeface="Times New Roman" panose="02020603050405020304" pitchFamily="18" charset="0"/>
              </a:rPr>
              <a:t>LIGNITE</a:t>
            </a:r>
          </a:p>
        </p:txBody>
      </p:sp>
      <p:sp>
        <p:nvSpPr>
          <p:cNvPr id="12" name="TextBox 11"/>
          <p:cNvSpPr txBox="1"/>
          <p:nvPr/>
        </p:nvSpPr>
        <p:spPr>
          <a:xfrm>
            <a:off x="2554394" y="4175162"/>
            <a:ext cx="2461359" cy="261610"/>
          </a:xfrm>
          <a:prstGeom prst="rect">
            <a:avLst/>
          </a:prstGeom>
          <a:solidFill>
            <a:schemeClr val="bg1">
              <a:alpha val="0"/>
            </a:schemeClr>
          </a:solidFill>
        </p:spPr>
        <p:txBody>
          <a:bodyPr wrap="square" rtlCol="0">
            <a:spAutoFit/>
          </a:bodyPr>
          <a:lstStyle/>
          <a:p>
            <a:pPr algn="ctr"/>
            <a:r>
              <a:rPr lang="en-US" b="1" dirty="0" smtClean="0">
                <a:solidFill>
                  <a:schemeClr val="bg2"/>
                </a:solidFill>
                <a:latin typeface="Times New Roman" panose="02020603050405020304" pitchFamily="18" charset="0"/>
                <a:cs typeface="Times New Roman" panose="02020603050405020304" pitchFamily="18" charset="0"/>
              </a:rPr>
              <a:t>GENERATION IN THE NETWORK</a:t>
            </a:r>
            <a:endParaRPr lang="el-GR" b="1" dirty="0">
              <a:solidFill>
                <a:schemeClr val="bg2"/>
              </a:solidFill>
              <a:latin typeface="Times New Roman" panose="02020603050405020304" pitchFamily="18" charset="0"/>
              <a:cs typeface="Times New Roman" panose="02020603050405020304" pitchFamily="18" charset="0"/>
            </a:endParaRPr>
          </a:p>
        </p:txBody>
      </p:sp>
      <p:sp>
        <p:nvSpPr>
          <p:cNvPr id="13" name="AutoShape 3"/>
          <p:cNvSpPr>
            <a:spLocks noChangeArrowheads="1"/>
          </p:cNvSpPr>
          <p:nvPr/>
        </p:nvSpPr>
        <p:spPr bwMode="gray">
          <a:xfrm>
            <a:off x="627851" y="4635163"/>
            <a:ext cx="7892035" cy="1605980"/>
          </a:xfrm>
          <a:prstGeom prst="flowChartAlternateProcess">
            <a:avLst/>
          </a:prstGeom>
          <a:solidFill>
            <a:srgbClr val="1F487D"/>
          </a:solidFill>
          <a:ln>
            <a:noFill/>
          </a:ln>
          <a:extLst/>
        </p:spPr>
        <p:txBody>
          <a:bodyPr lIns="33231" tIns="33231" rIns="33231" bIns="33231" anchor="ctr"/>
          <a:lstStyle/>
          <a:p>
            <a:pPr eaLnBrk="1" fontAlgn="auto" hangingPunct="1">
              <a:spcBef>
                <a:spcPts val="0"/>
              </a:spcBef>
              <a:spcAft>
                <a:spcPts val="0"/>
              </a:spcAft>
            </a:pPr>
            <a:r>
              <a:rPr lang="el-GR" sz="1600" b="1" i="1" dirty="0" smtClean="0">
                <a:solidFill>
                  <a:schemeClr val="bg1"/>
                </a:solidFill>
                <a:latin typeface="+mn-lt"/>
                <a:ea typeface="Calibri" panose="020F0502020204030204" pitchFamily="34" charset="0"/>
                <a:cs typeface="Times New Roman" panose="02020603050405020304" pitchFamily="18" charset="0"/>
              </a:rPr>
              <a:t>«…</a:t>
            </a:r>
            <a:r>
              <a:rPr lang="en-US" sz="1600" b="1" i="1" dirty="0" smtClean="0">
                <a:solidFill>
                  <a:schemeClr val="bg1"/>
                </a:solidFill>
                <a:latin typeface="+mn-lt"/>
                <a:ea typeface="Calibri" panose="020F0502020204030204" pitchFamily="34" charset="0"/>
                <a:cs typeface="Times New Roman" panose="02020603050405020304" pitchFamily="18" charset="0"/>
              </a:rPr>
              <a:t>In </a:t>
            </a:r>
            <a:r>
              <a:rPr lang="en-US" sz="1600" b="1" i="1" dirty="0">
                <a:solidFill>
                  <a:schemeClr val="bg1"/>
                </a:solidFill>
                <a:latin typeface="+mn-lt"/>
                <a:ea typeface="Calibri" panose="020F0502020204030204" pitchFamily="34" charset="0"/>
                <a:cs typeface="Times New Roman" panose="02020603050405020304" pitchFamily="18" charset="0"/>
              </a:rPr>
              <a:t>fact, lignite-fired generation still plays an essential role on the wholesale electricity market and is crucial for the security of supply in Greece. Based on the current market circumstances, all interested parties recognize that the current level of lignite-fired generation will still be heavily needed to balance the Greek wholesale market </a:t>
            </a:r>
            <a:r>
              <a:rPr lang="el-GR" sz="1600" b="1" i="1" dirty="0" smtClean="0">
                <a:solidFill>
                  <a:schemeClr val="bg1"/>
                </a:solidFill>
                <a:latin typeface="+mn-lt"/>
                <a:ea typeface="Calibri" panose="020F0502020204030204" pitchFamily="34" charset="0"/>
                <a:cs typeface="Times New Roman" panose="02020603050405020304" pitchFamily="18" charset="0"/>
              </a:rPr>
              <a:t>…»*</a:t>
            </a:r>
            <a:endParaRPr lang="en-GB" sz="1600" b="1" i="1" dirty="0">
              <a:solidFill>
                <a:schemeClr val="bg1"/>
              </a:solidFill>
              <a:latin typeface="+mn-lt"/>
              <a:ea typeface="Calibri" panose="020F0502020204030204" pitchFamily="34" charset="0"/>
              <a:cs typeface="Arial" panose="020B0604020202020204" pitchFamily="34" charset="0"/>
            </a:endParaRPr>
          </a:p>
        </p:txBody>
      </p:sp>
      <p:sp>
        <p:nvSpPr>
          <p:cNvPr id="8" name="TextBox 7"/>
          <p:cNvSpPr txBox="1"/>
          <p:nvPr/>
        </p:nvSpPr>
        <p:spPr>
          <a:xfrm>
            <a:off x="592007" y="6373906"/>
            <a:ext cx="6829675" cy="261610"/>
          </a:xfrm>
          <a:prstGeom prst="rect">
            <a:avLst/>
          </a:prstGeom>
          <a:noFill/>
        </p:spPr>
        <p:txBody>
          <a:bodyPr wrap="square" rtlCol="0">
            <a:spAutoFit/>
          </a:bodyPr>
          <a:lstStyle/>
          <a:p>
            <a:r>
              <a:rPr lang="en-US" dirty="0" smtClean="0">
                <a:solidFill>
                  <a:srgbClr val="1F487D"/>
                </a:solidFill>
              </a:rPr>
              <a:t>* European Commission </a:t>
            </a:r>
            <a:r>
              <a:rPr lang="en-US" dirty="0">
                <a:solidFill>
                  <a:srgbClr val="1F487D"/>
                </a:solidFill>
              </a:rPr>
              <a:t>Decision of 17.4.2018, Case AT.38700, – Greek lignite and electricity markets   </a:t>
            </a:r>
            <a:endParaRPr lang="el-GR" dirty="0">
              <a:solidFill>
                <a:srgbClr val="1F487D"/>
              </a:solidFill>
            </a:endParaRPr>
          </a:p>
        </p:txBody>
      </p:sp>
      <p:sp>
        <p:nvSpPr>
          <p:cNvPr id="14" name="AutoShape 3"/>
          <p:cNvSpPr>
            <a:spLocks noChangeArrowheads="1"/>
          </p:cNvSpPr>
          <p:nvPr/>
        </p:nvSpPr>
        <p:spPr bwMode="gray">
          <a:xfrm>
            <a:off x="627850" y="3692215"/>
            <a:ext cx="2061057" cy="466299"/>
          </a:xfrm>
          <a:prstGeom prst="flowChartAlternateProcess">
            <a:avLst/>
          </a:prstGeom>
          <a:noFill/>
          <a:ln w="38100">
            <a:solidFill>
              <a:srgbClr val="1F487D"/>
            </a:solidFill>
          </a:ln>
          <a:extLst/>
        </p:spPr>
        <p:txBody>
          <a:bodyPr lIns="33231" tIns="33231" rIns="33231" bIns="33231" anchor="ctr"/>
          <a:lstStyle/>
          <a:p>
            <a:pPr algn="ctr" eaLnBrk="1" fontAlgn="auto" hangingPunct="1">
              <a:spcBef>
                <a:spcPts val="0"/>
              </a:spcBef>
              <a:spcAft>
                <a:spcPts val="0"/>
              </a:spcAft>
            </a:pPr>
            <a:r>
              <a:rPr lang="en-GB" sz="1600" b="1" dirty="0" smtClean="0">
                <a:solidFill>
                  <a:srgbClr val="1F487D"/>
                </a:solidFill>
                <a:latin typeface="+mn-lt"/>
                <a:ea typeface="Calibri" panose="020F0502020204030204" pitchFamily="34" charset="0"/>
                <a:cs typeface="Times New Roman" panose="02020603050405020304" pitchFamily="18" charset="0"/>
              </a:rPr>
              <a:t>Total: 51,5 </a:t>
            </a:r>
            <a:r>
              <a:rPr lang="en-GB" sz="1600" b="1" dirty="0" err="1" smtClean="0">
                <a:solidFill>
                  <a:srgbClr val="1F487D"/>
                </a:solidFill>
                <a:latin typeface="+mn-lt"/>
                <a:ea typeface="Calibri" panose="020F0502020204030204" pitchFamily="34" charset="0"/>
                <a:cs typeface="Times New Roman" panose="02020603050405020304" pitchFamily="18" charset="0"/>
              </a:rPr>
              <a:t>TWh</a:t>
            </a:r>
            <a:endParaRPr lang="en-GB" sz="1600" b="1" dirty="0">
              <a:solidFill>
                <a:srgbClr val="1F487D"/>
              </a:solidFill>
              <a:latin typeface="+mn-lt"/>
              <a:ea typeface="Calibri" panose="020F0502020204030204" pitchFamily="34" charset="0"/>
              <a:cs typeface="Arial" panose="020B0604020202020204" pitchFamily="34" charset="0"/>
            </a:endParaRPr>
          </a:p>
        </p:txBody>
      </p:sp>
      <p:sp>
        <p:nvSpPr>
          <p:cNvPr id="4" name="TextBox 3"/>
          <p:cNvSpPr txBox="1"/>
          <p:nvPr/>
        </p:nvSpPr>
        <p:spPr>
          <a:xfrm>
            <a:off x="592007" y="4191806"/>
            <a:ext cx="1738832" cy="261610"/>
          </a:xfrm>
          <a:prstGeom prst="rect">
            <a:avLst/>
          </a:prstGeom>
          <a:noFill/>
        </p:spPr>
        <p:txBody>
          <a:bodyPr wrap="square" rtlCol="0">
            <a:spAutoFit/>
          </a:bodyPr>
          <a:lstStyle/>
          <a:p>
            <a:r>
              <a:rPr lang="en-US" dirty="0" smtClean="0"/>
              <a:t>Source: IPTO</a:t>
            </a:r>
            <a:endParaRPr lang="el-GR" dirty="0"/>
          </a:p>
        </p:txBody>
      </p:sp>
    </p:spTree>
    <p:extLst>
      <p:ext uri="{BB962C8B-B14F-4D97-AF65-F5344CB8AC3E}">
        <p14:creationId xmlns:p14="http://schemas.microsoft.com/office/powerpoint/2010/main" val="19480164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47"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nSpc>
                <a:spcPct val="90000"/>
              </a:lnSpc>
            </a:pPr>
            <a:endParaRPr kumimoji="0" lang="el-GR" sz="1000" b="1" u="none" strike="noStrike" cap="none" normalizeH="0" dirty="0">
              <a:ln>
                <a:noFill/>
              </a:ln>
              <a:solidFill>
                <a:schemeClr val="tx1"/>
              </a:solidFill>
              <a:effectLst/>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1" name="Slide Number Placeholder 4"/>
          <p:cNvSpPr txBox="1">
            <a:spLocks/>
          </p:cNvSpPr>
          <p:nvPr/>
        </p:nvSpPr>
        <p:spPr>
          <a:xfrm>
            <a:off x="8878254" y="6549182"/>
            <a:ext cx="317500" cy="188913"/>
          </a:xfrm>
          <a:prstGeom prst="rect">
            <a:avLst/>
          </a:prstGeom>
        </p:spPr>
        <p:txBody>
          <a:bodyP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a:defRPr/>
            </a:pPr>
            <a:fld id="{ACAC583F-A320-4755-A148-4B03D13D5D56}" type="slidenum">
              <a:rPr lang="en-GB" sz="800" b="1" smtClean="0"/>
              <a:pPr>
                <a:defRPr/>
              </a:pPr>
              <a:t>6</a:t>
            </a:fld>
            <a:endParaRPr lang="en-GB" sz="800" b="1" dirty="0"/>
          </a:p>
        </p:txBody>
      </p:sp>
      <p:sp>
        <p:nvSpPr>
          <p:cNvPr id="10" name="Τίτλος 1"/>
          <p:cNvSpPr txBox="1">
            <a:spLocks/>
          </p:cNvSpPr>
          <p:nvPr/>
        </p:nvSpPr>
        <p:spPr>
          <a:xfrm>
            <a:off x="1156856" y="287242"/>
            <a:ext cx="7601383" cy="636036"/>
          </a:xfrm>
          <a:prstGeom prst="rect">
            <a:avLst/>
          </a:prstGeom>
        </p:spPr>
        <p:txBody>
          <a:bodyPr/>
          <a:lstStyle>
            <a:lvl1pPr marL="0" indent="0" algn="l" rtl="0" eaLnBrk="0" fontAlgn="base" hangingPunct="0">
              <a:lnSpc>
                <a:spcPct val="80000"/>
              </a:lnSpc>
              <a:spcBef>
                <a:spcPct val="0"/>
              </a:spcBef>
              <a:spcAft>
                <a:spcPct val="0"/>
              </a:spcAft>
              <a:buFontTx/>
              <a:buNone/>
              <a:defRPr lang="en-US" altLang="zh-TW" sz="2000" kern="1200" dirty="0">
                <a:solidFill>
                  <a:srgbClr val="1F497D"/>
                </a:solidFill>
                <a:latin typeface="+mn-lt"/>
                <a:ea typeface="Arial Unicode MS" charset="0"/>
                <a:cs typeface="CMCatalogue-Light"/>
              </a:defRPr>
            </a:lvl1pPr>
            <a:lvl2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2pPr>
            <a:lvl3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3pPr>
            <a:lvl4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4pPr>
            <a:lvl5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5pPr>
            <a:lvl6pPr marL="4572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pPr>
              <a:spcAft>
                <a:spcPts val="600"/>
              </a:spcAft>
            </a:pPr>
            <a:r>
              <a:rPr b="1" dirty="0" smtClean="0">
                <a:solidFill>
                  <a:srgbClr val="002060"/>
                </a:solidFill>
                <a:cs typeface="Arial Unicode MS" charset="0"/>
              </a:rPr>
              <a:t>Key Strategic Priority:</a:t>
            </a:r>
          </a:p>
          <a:p>
            <a:r>
              <a:rPr sz="1800" b="1" dirty="0" smtClean="0">
                <a:solidFill>
                  <a:srgbClr val="002060"/>
                </a:solidFill>
                <a:cs typeface="Arial Unicode MS" charset="0"/>
              </a:rPr>
              <a:t>Significant increase of RES installed capacity</a:t>
            </a:r>
            <a:endParaRPr sz="1800" dirty="0"/>
          </a:p>
        </p:txBody>
      </p:sp>
      <p:sp>
        <p:nvSpPr>
          <p:cNvPr id="12" name="TextBox 11"/>
          <p:cNvSpPr txBox="1"/>
          <p:nvPr/>
        </p:nvSpPr>
        <p:spPr>
          <a:xfrm>
            <a:off x="1260914" y="2067455"/>
            <a:ext cx="408125" cy="246221"/>
          </a:xfrm>
          <a:prstGeom prst="rect">
            <a:avLst/>
          </a:prstGeom>
          <a:noFill/>
        </p:spPr>
        <p:txBody>
          <a:bodyPr wrap="none" lIns="0" rtlCol="0">
            <a:spAutoFit/>
          </a:bodyPr>
          <a:lstStyle/>
          <a:p>
            <a:pPr eaLnBrk="1" fontAlgn="auto" hangingPunct="1">
              <a:spcBef>
                <a:spcPts val="0"/>
              </a:spcBef>
              <a:spcAft>
                <a:spcPts val="0"/>
              </a:spcAft>
              <a:defRPr/>
            </a:pPr>
            <a:r>
              <a:rPr lang="en-GB" sz="1000" dirty="0" smtClean="0">
                <a:solidFill>
                  <a:srgbClr val="001F5F"/>
                </a:solidFill>
                <a:latin typeface="Arial"/>
              </a:rPr>
              <a:t>(MW)</a:t>
            </a:r>
            <a:endParaRPr lang="en-GB" sz="1000" dirty="0">
              <a:solidFill>
                <a:srgbClr val="001F5F"/>
              </a:solidFill>
              <a:latin typeface="Arial"/>
            </a:endParaRPr>
          </a:p>
        </p:txBody>
      </p:sp>
      <p:graphicFrame>
        <p:nvGraphicFramePr>
          <p:cNvPr id="13" name="Chart 12"/>
          <p:cNvGraphicFramePr/>
          <p:nvPr>
            <p:extLst>
              <p:ext uri="{D42A27DB-BD31-4B8C-83A1-F6EECF244321}">
                <p14:modId xmlns:p14="http://schemas.microsoft.com/office/powerpoint/2010/main" val="2559093593"/>
              </p:ext>
            </p:extLst>
          </p:nvPr>
        </p:nvGraphicFramePr>
        <p:xfrm>
          <a:off x="781235" y="1396999"/>
          <a:ext cx="7977004" cy="3361431"/>
        </p:xfrm>
        <a:graphic>
          <a:graphicData uri="http://schemas.openxmlformats.org/drawingml/2006/chart">
            <c:chart xmlns:c="http://schemas.openxmlformats.org/drawingml/2006/chart" xmlns:r="http://schemas.openxmlformats.org/officeDocument/2006/relationships" r:id="rId8"/>
          </a:graphicData>
        </a:graphic>
      </p:graphicFrame>
      <p:sp>
        <p:nvSpPr>
          <p:cNvPr id="9" name="AutoShape 3"/>
          <p:cNvSpPr>
            <a:spLocks noChangeArrowheads="1"/>
          </p:cNvSpPr>
          <p:nvPr/>
        </p:nvSpPr>
        <p:spPr bwMode="gray">
          <a:xfrm>
            <a:off x="711117" y="5363073"/>
            <a:ext cx="7917978" cy="728134"/>
          </a:xfrm>
          <a:prstGeom prst="flowChartAlternateProcess">
            <a:avLst/>
          </a:prstGeom>
          <a:solidFill>
            <a:srgbClr val="1F487D"/>
          </a:solidFill>
          <a:ln>
            <a:noFill/>
          </a:ln>
          <a:extLst/>
        </p:spPr>
        <p:txBody>
          <a:bodyPr lIns="33231" tIns="33231" rIns="33231" bIns="33231" anchor="ctr"/>
          <a:lstStyle/>
          <a:p>
            <a:pPr marL="285750" indent="-285750" eaLnBrk="1" fontAlgn="auto" hangingPunct="1">
              <a:spcBef>
                <a:spcPts val="0"/>
              </a:spcBef>
              <a:spcAft>
                <a:spcPts val="600"/>
              </a:spcAft>
              <a:buFont typeface="Arial" panose="020B0604020202020204" pitchFamily="34" charset="0"/>
              <a:buChar char="•"/>
            </a:pPr>
            <a:r>
              <a:rPr lang="en-US" sz="1600" b="1" dirty="0">
                <a:solidFill>
                  <a:schemeClr val="bg1"/>
                </a:solidFill>
                <a:latin typeface="+mn-lt"/>
                <a:ea typeface="Calibri" panose="020F0502020204030204" pitchFamily="34" charset="0"/>
                <a:cs typeface="Times New Roman" panose="02020603050405020304" pitchFamily="18" charset="0"/>
              </a:rPr>
              <a:t>Total capex for RES (2018–2022</a:t>
            </a:r>
            <a:r>
              <a:rPr lang="en-US" sz="1600" b="1" dirty="0" smtClean="0">
                <a:solidFill>
                  <a:schemeClr val="bg1"/>
                </a:solidFill>
                <a:latin typeface="+mn-lt"/>
                <a:ea typeface="Calibri" panose="020F0502020204030204" pitchFamily="34" charset="0"/>
                <a:cs typeface="Times New Roman" panose="02020603050405020304" pitchFamily="18" charset="0"/>
              </a:rPr>
              <a:t>): ca. </a:t>
            </a:r>
            <a:r>
              <a:rPr lang="en-US" sz="1600" b="1" dirty="0">
                <a:solidFill>
                  <a:schemeClr val="bg1"/>
                </a:solidFill>
                <a:latin typeface="+mn-lt"/>
                <a:ea typeface="Calibri" panose="020F0502020204030204" pitchFamily="34" charset="0"/>
                <a:cs typeface="Times New Roman" panose="02020603050405020304" pitchFamily="18" charset="0"/>
              </a:rPr>
              <a:t>€ 700 </a:t>
            </a:r>
            <a:r>
              <a:rPr lang="en-US" sz="1600" b="1" dirty="0" err="1" smtClean="0">
                <a:solidFill>
                  <a:schemeClr val="bg1"/>
                </a:solidFill>
                <a:latin typeface="+mn-lt"/>
                <a:ea typeface="Calibri" panose="020F0502020204030204" pitchFamily="34" charset="0"/>
                <a:cs typeface="Times New Roman" panose="02020603050405020304" pitchFamily="18" charset="0"/>
              </a:rPr>
              <a:t>mln</a:t>
            </a:r>
            <a:endParaRPr lang="en-US" sz="1600" b="1" dirty="0">
              <a:solidFill>
                <a:schemeClr val="bg1"/>
              </a:solidFill>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532153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66769" y="953458"/>
            <a:ext cx="4860768" cy="53950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6" descr="MCj03112800000[1]"/>
          <p:cNvPicPr>
            <a:picLocks noChangeAspect="1" noChangeArrowheads="1"/>
          </p:cNvPicPr>
          <p:nvPr/>
        </p:nvPicPr>
        <p:blipFill>
          <a:blip r:embed="rId3"/>
          <a:srcRect/>
          <a:stretch>
            <a:fillRect/>
          </a:stretch>
        </p:blipFill>
        <p:spPr bwMode="auto">
          <a:xfrm>
            <a:off x="6588224" y="3501008"/>
            <a:ext cx="452437" cy="350838"/>
          </a:xfrm>
          <a:prstGeom prst="rect">
            <a:avLst/>
          </a:prstGeom>
          <a:noFill/>
        </p:spPr>
      </p:pic>
      <p:sp>
        <p:nvSpPr>
          <p:cNvPr id="10" name="23 - TextBox"/>
          <p:cNvSpPr txBox="1"/>
          <p:nvPr/>
        </p:nvSpPr>
        <p:spPr>
          <a:xfrm>
            <a:off x="6444208" y="3202101"/>
            <a:ext cx="720080" cy="276999"/>
          </a:xfrm>
          <a:prstGeom prst="rect">
            <a:avLst/>
          </a:prstGeom>
          <a:noFill/>
        </p:spPr>
        <p:txBody>
          <a:bodyPr wrap="square" rtlCol="0">
            <a:spAutoFit/>
          </a:bodyPr>
          <a:lstStyle/>
          <a:p>
            <a:r>
              <a:rPr lang="en-US" sz="1200" b="1" dirty="0" err="1" smtClean="0"/>
              <a:t>Aliveri</a:t>
            </a:r>
            <a:endParaRPr lang="el-GR" b="1" dirty="0"/>
          </a:p>
        </p:txBody>
      </p:sp>
      <p:pic>
        <p:nvPicPr>
          <p:cNvPr id="11" name="Picture 26" descr="MCj03112800000[1]"/>
          <p:cNvPicPr>
            <a:picLocks noChangeAspect="1" noChangeArrowheads="1"/>
          </p:cNvPicPr>
          <p:nvPr/>
        </p:nvPicPr>
        <p:blipFill>
          <a:blip r:embed="rId3"/>
          <a:srcRect/>
          <a:stretch>
            <a:fillRect/>
          </a:stretch>
        </p:blipFill>
        <p:spPr bwMode="auto">
          <a:xfrm>
            <a:off x="7232371" y="4256739"/>
            <a:ext cx="452437" cy="350838"/>
          </a:xfrm>
          <a:prstGeom prst="rect">
            <a:avLst/>
          </a:prstGeom>
          <a:noFill/>
        </p:spPr>
      </p:pic>
      <p:sp>
        <p:nvSpPr>
          <p:cNvPr id="12" name="22 - TextBox"/>
          <p:cNvSpPr txBox="1"/>
          <p:nvPr/>
        </p:nvSpPr>
        <p:spPr>
          <a:xfrm>
            <a:off x="7411081" y="3997286"/>
            <a:ext cx="754537" cy="276999"/>
          </a:xfrm>
          <a:prstGeom prst="rect">
            <a:avLst/>
          </a:prstGeom>
          <a:noFill/>
        </p:spPr>
        <p:txBody>
          <a:bodyPr wrap="square" rtlCol="0">
            <a:spAutoFit/>
          </a:bodyPr>
          <a:lstStyle/>
          <a:p>
            <a:r>
              <a:rPr lang="en-US" sz="1200" b="1" dirty="0" smtClean="0"/>
              <a:t>Lavrion</a:t>
            </a:r>
            <a:endParaRPr lang="el-GR" b="1" dirty="0"/>
          </a:p>
        </p:txBody>
      </p:sp>
      <p:pic>
        <p:nvPicPr>
          <p:cNvPr id="13" name="Picture 26" descr="MCj03112800000[1]"/>
          <p:cNvPicPr>
            <a:picLocks noChangeAspect="1" noChangeArrowheads="1"/>
          </p:cNvPicPr>
          <p:nvPr/>
        </p:nvPicPr>
        <p:blipFill>
          <a:blip r:embed="rId3"/>
          <a:srcRect/>
          <a:stretch>
            <a:fillRect/>
          </a:stretch>
        </p:blipFill>
        <p:spPr bwMode="auto">
          <a:xfrm>
            <a:off x="5664050" y="4517722"/>
            <a:ext cx="452437" cy="350838"/>
          </a:xfrm>
          <a:prstGeom prst="rect">
            <a:avLst/>
          </a:prstGeom>
          <a:noFill/>
        </p:spPr>
      </p:pic>
      <p:sp>
        <p:nvSpPr>
          <p:cNvPr id="14" name="25 - TextBox"/>
          <p:cNvSpPr txBox="1"/>
          <p:nvPr/>
        </p:nvSpPr>
        <p:spPr>
          <a:xfrm>
            <a:off x="5155473" y="4895671"/>
            <a:ext cx="1164413" cy="276999"/>
          </a:xfrm>
          <a:prstGeom prst="rect">
            <a:avLst/>
          </a:prstGeom>
          <a:noFill/>
        </p:spPr>
        <p:txBody>
          <a:bodyPr wrap="square" rtlCol="0">
            <a:spAutoFit/>
          </a:bodyPr>
          <a:lstStyle/>
          <a:p>
            <a:r>
              <a:rPr lang="en-US" sz="1200" b="1" dirty="0" smtClean="0"/>
              <a:t>Megalopolis</a:t>
            </a:r>
            <a:endParaRPr lang="el-GR" sz="1200" b="1" dirty="0"/>
          </a:p>
        </p:txBody>
      </p:sp>
      <p:pic>
        <p:nvPicPr>
          <p:cNvPr id="15" name="Picture 26" descr="MCj03112800000[1]"/>
          <p:cNvPicPr>
            <a:picLocks noChangeAspect="1" noChangeArrowheads="1"/>
          </p:cNvPicPr>
          <p:nvPr/>
        </p:nvPicPr>
        <p:blipFill>
          <a:blip r:embed="rId3"/>
          <a:srcRect/>
          <a:stretch>
            <a:fillRect/>
          </a:stretch>
        </p:blipFill>
        <p:spPr bwMode="auto">
          <a:xfrm>
            <a:off x="8087450" y="1292232"/>
            <a:ext cx="452437" cy="350838"/>
          </a:xfrm>
          <a:prstGeom prst="rect">
            <a:avLst/>
          </a:prstGeom>
          <a:noFill/>
        </p:spPr>
      </p:pic>
      <p:sp>
        <p:nvSpPr>
          <p:cNvPr id="16" name="26 - TextBox"/>
          <p:cNvSpPr txBox="1"/>
          <p:nvPr/>
        </p:nvSpPr>
        <p:spPr>
          <a:xfrm>
            <a:off x="7684808" y="970270"/>
            <a:ext cx="961621" cy="276999"/>
          </a:xfrm>
          <a:prstGeom prst="rect">
            <a:avLst/>
          </a:prstGeom>
          <a:noFill/>
        </p:spPr>
        <p:txBody>
          <a:bodyPr wrap="square" rtlCol="0">
            <a:spAutoFit/>
          </a:bodyPr>
          <a:lstStyle/>
          <a:p>
            <a:r>
              <a:rPr lang="en-US" sz="1200" b="1" dirty="0" err="1" smtClean="0"/>
              <a:t>Komotini</a:t>
            </a:r>
            <a:endParaRPr lang="el-GR" sz="1200" b="1" dirty="0"/>
          </a:p>
        </p:txBody>
      </p:sp>
      <p:sp>
        <p:nvSpPr>
          <p:cNvPr id="17" name="219 - Επεξήγηση με γραμμή 2"/>
          <p:cNvSpPr/>
          <p:nvPr/>
        </p:nvSpPr>
        <p:spPr>
          <a:xfrm>
            <a:off x="7886706" y="1941741"/>
            <a:ext cx="1167027" cy="987426"/>
          </a:xfrm>
          <a:prstGeom prst="borderCallout2">
            <a:avLst>
              <a:gd name="adj1" fmla="val 80354"/>
              <a:gd name="adj2" fmla="val 396"/>
              <a:gd name="adj3" fmla="val 77917"/>
              <a:gd name="adj4" fmla="val 51"/>
              <a:gd name="adj5" fmla="val 78650"/>
              <a:gd name="adj6" fmla="val -466"/>
            </a:avLst>
          </a:prstGeom>
          <a:solidFill>
            <a:schemeClr val="bg1"/>
          </a:solidFill>
          <a:ln w="44450" cap="flat" cmpd="sng" algn="ctr">
            <a:solidFill>
              <a:srgbClr val="4F81BD"/>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1" i="0" u="none" strike="noStrike" kern="0" cap="none" spc="0" normalizeH="0" baseline="0" noProof="0" dirty="0">
                <a:ln>
                  <a:noFill/>
                </a:ln>
                <a:solidFill>
                  <a:srgbClr val="1F497D"/>
                </a:solidFill>
                <a:effectLst/>
                <a:uLnTx/>
                <a:uFillTx/>
                <a:latin typeface="Verdana" pitchFamily="34" charset="0"/>
              </a:rPr>
              <a:t>Turkey (“</a:t>
            </a:r>
            <a:r>
              <a:rPr kumimoji="0" lang="en-US" sz="800" b="1" i="0" u="none" strike="noStrike" kern="0" cap="none" spc="0" normalizeH="0" baseline="0" noProof="0" dirty="0" err="1" smtClean="0">
                <a:ln>
                  <a:noFill/>
                </a:ln>
                <a:solidFill>
                  <a:srgbClr val="1F497D"/>
                </a:solidFill>
                <a:effectLst/>
                <a:uLnTx/>
                <a:uFillTx/>
                <a:latin typeface="Verdana" pitchFamily="34" charset="0"/>
              </a:rPr>
              <a:t>Kipoi</a:t>
            </a:r>
            <a:r>
              <a:rPr kumimoji="0" lang="en-US" sz="800" b="1" i="0" u="none" strike="noStrike" kern="0" cap="none" spc="0" normalizeH="0" baseline="0" noProof="0" dirty="0">
                <a:ln>
                  <a:noFill/>
                </a:ln>
                <a:solidFill>
                  <a:srgbClr val="1F497D"/>
                </a:solidFill>
                <a:effectLst/>
                <a:uLnTx/>
                <a:uFillTx/>
                <a:latin typeface="Verdana" pitchFamily="34" charset="0"/>
              </a:rPr>
              <a:t>”) entrance point:</a:t>
            </a:r>
          </a:p>
          <a:p>
            <a:pPr marL="88900" marR="0" lvl="0" indent="0" defTabSz="914400" eaLnBrk="1" fontAlgn="auto" latinLnBrk="0" hangingPunct="1">
              <a:lnSpc>
                <a:spcPct val="100000"/>
              </a:lnSpc>
              <a:spcBef>
                <a:spcPts val="0"/>
              </a:spcBef>
              <a:spcAft>
                <a:spcPts val="0"/>
              </a:spcAft>
              <a:buClrTx/>
              <a:buSzTx/>
              <a:buFontTx/>
              <a:buNone/>
              <a:tabLst/>
              <a:defRPr/>
            </a:pPr>
            <a:r>
              <a:rPr lang="en-US" sz="800" kern="0" dirty="0" smtClean="0">
                <a:solidFill>
                  <a:srgbClr val="1F497D"/>
                </a:solidFill>
                <a:latin typeface="Verdana" pitchFamily="34" charset="0"/>
              </a:rPr>
              <a:t>Current Operational </a:t>
            </a:r>
            <a:r>
              <a:rPr kumimoji="0" lang="en-US" sz="800" b="0" i="0" u="none" strike="noStrike" kern="0" cap="none" spc="0" normalizeH="0" baseline="0" noProof="0" dirty="0" smtClean="0">
                <a:ln>
                  <a:noFill/>
                </a:ln>
                <a:solidFill>
                  <a:srgbClr val="1F497D"/>
                </a:solidFill>
                <a:effectLst/>
                <a:uLnTx/>
                <a:uFillTx/>
                <a:latin typeface="Verdana" pitchFamily="34" charset="0"/>
              </a:rPr>
              <a:t>capacity</a:t>
            </a:r>
            <a:r>
              <a:rPr kumimoji="0" lang="en-US" sz="800" b="0" i="0" u="none" strike="noStrike" kern="0" cap="none" spc="0" normalizeH="0" baseline="0" noProof="0" dirty="0">
                <a:ln>
                  <a:noFill/>
                </a:ln>
                <a:solidFill>
                  <a:srgbClr val="1F497D"/>
                </a:solidFill>
                <a:effectLst/>
                <a:uLnTx/>
                <a:uFillTx/>
                <a:latin typeface="Verdana" pitchFamily="34" charset="0"/>
              </a:rPr>
              <a:t>: ~</a:t>
            </a:r>
            <a:r>
              <a:rPr kumimoji="0" lang="en-US" sz="800" b="0" i="0" u="none" strike="noStrike" kern="0" cap="none" spc="0" normalizeH="0" baseline="0" noProof="0" dirty="0" smtClean="0">
                <a:ln>
                  <a:noFill/>
                </a:ln>
                <a:solidFill>
                  <a:srgbClr val="1F497D"/>
                </a:solidFill>
                <a:effectLst/>
                <a:uLnTx/>
                <a:uFillTx/>
                <a:latin typeface="Verdana" pitchFamily="34" charset="0"/>
              </a:rPr>
              <a:t>1,5 </a:t>
            </a:r>
            <a:r>
              <a:rPr kumimoji="0" lang="en-US" sz="800" b="0" i="0" u="none" strike="noStrike" kern="0" cap="none" spc="0" normalizeH="0" baseline="0" noProof="0" dirty="0" err="1" smtClean="0">
                <a:ln>
                  <a:noFill/>
                </a:ln>
                <a:solidFill>
                  <a:srgbClr val="1F497D"/>
                </a:solidFill>
                <a:effectLst/>
                <a:uLnTx/>
                <a:uFillTx/>
                <a:latin typeface="Verdana" pitchFamily="34" charset="0"/>
              </a:rPr>
              <a:t>bcm</a:t>
            </a:r>
            <a:r>
              <a:rPr kumimoji="0" lang="en-US" sz="800" b="0" i="0" u="none" strike="noStrike" kern="0" cap="none" spc="0" normalizeH="0" baseline="0" noProof="0" dirty="0" smtClean="0">
                <a:ln>
                  <a:noFill/>
                </a:ln>
                <a:solidFill>
                  <a:srgbClr val="1F497D"/>
                </a:solidFill>
                <a:effectLst/>
                <a:uLnTx/>
                <a:uFillTx/>
                <a:latin typeface="Verdana" pitchFamily="34" charset="0"/>
              </a:rPr>
              <a:t>/year</a:t>
            </a:r>
            <a:endParaRPr kumimoji="0" lang="en-US" sz="800" b="0" i="0" u="none" strike="noStrike" kern="0" cap="none" spc="0" normalizeH="0" baseline="0" noProof="0" dirty="0">
              <a:ln>
                <a:noFill/>
              </a:ln>
              <a:solidFill>
                <a:srgbClr val="1F497D"/>
              </a:solidFill>
              <a:effectLst/>
              <a:uLnTx/>
              <a:uFillTx/>
              <a:latin typeface="Verdana" pitchFamily="34" charset="0"/>
            </a:endParaRPr>
          </a:p>
        </p:txBody>
      </p:sp>
      <p:sp>
        <p:nvSpPr>
          <p:cNvPr id="18" name="220 - Επεξήγηση με γραμμή 2"/>
          <p:cNvSpPr/>
          <p:nvPr/>
        </p:nvSpPr>
        <p:spPr>
          <a:xfrm>
            <a:off x="5207725" y="926767"/>
            <a:ext cx="1489427" cy="540884"/>
          </a:xfrm>
          <a:prstGeom prst="borderCallout2">
            <a:avLst>
              <a:gd name="adj1" fmla="val 56918"/>
              <a:gd name="adj2" fmla="val 99169"/>
              <a:gd name="adj3" fmla="val 56576"/>
              <a:gd name="adj4" fmla="val 100183"/>
              <a:gd name="adj5" fmla="val 58229"/>
              <a:gd name="adj6" fmla="val 105895"/>
            </a:avLst>
          </a:prstGeom>
          <a:solidFill>
            <a:schemeClr val="bg1"/>
          </a:solidFill>
          <a:ln w="444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800" b="1" dirty="0">
                <a:solidFill>
                  <a:schemeClr val="tx2"/>
                </a:solidFill>
                <a:latin typeface="Verdana" pitchFamily="34" charset="0"/>
              </a:rPr>
              <a:t>Bulgaria (“</a:t>
            </a:r>
            <a:r>
              <a:rPr lang="en-US" sz="800" b="1" dirty="0" err="1">
                <a:solidFill>
                  <a:schemeClr val="tx2"/>
                </a:solidFill>
                <a:latin typeface="Verdana" pitchFamily="34" charset="0"/>
              </a:rPr>
              <a:t>Strimonochori</a:t>
            </a:r>
            <a:r>
              <a:rPr lang="en-US" sz="800" b="1" dirty="0">
                <a:solidFill>
                  <a:schemeClr val="tx2"/>
                </a:solidFill>
                <a:latin typeface="Verdana" pitchFamily="34" charset="0"/>
              </a:rPr>
              <a:t>”) entrance </a:t>
            </a:r>
            <a:r>
              <a:rPr lang="en-US" sz="800" b="1" dirty="0" smtClean="0">
                <a:solidFill>
                  <a:schemeClr val="tx2"/>
                </a:solidFill>
                <a:latin typeface="Verdana" pitchFamily="34" charset="0"/>
              </a:rPr>
              <a:t>point</a:t>
            </a:r>
            <a:endParaRPr lang="en-US" sz="800" b="1" dirty="0">
              <a:solidFill>
                <a:schemeClr val="tx2"/>
              </a:solidFill>
              <a:latin typeface="Verdana" pitchFamily="34" charset="0"/>
            </a:endParaRPr>
          </a:p>
        </p:txBody>
      </p:sp>
      <p:sp>
        <p:nvSpPr>
          <p:cNvPr id="22" name="219 - Επεξήγηση με γραμμή 2"/>
          <p:cNvSpPr/>
          <p:nvPr/>
        </p:nvSpPr>
        <p:spPr>
          <a:xfrm>
            <a:off x="7684808" y="4671734"/>
            <a:ext cx="1099443" cy="1285648"/>
          </a:xfrm>
          <a:prstGeom prst="borderCallout2">
            <a:avLst>
              <a:gd name="adj1" fmla="val 80354"/>
              <a:gd name="adj2" fmla="val 396"/>
              <a:gd name="adj3" fmla="val 77917"/>
              <a:gd name="adj4" fmla="val 51"/>
              <a:gd name="adj5" fmla="val -17373"/>
              <a:gd name="adj6" fmla="val -58673"/>
            </a:avLst>
          </a:prstGeom>
          <a:solidFill>
            <a:sysClr val="window" lastClr="FFFFFF"/>
          </a:solidFill>
          <a:ln w="44450" cap="flat" cmpd="sng" algn="ctr">
            <a:solidFill>
              <a:srgbClr val="4F81BD"/>
            </a:solidFill>
            <a:prstDash val="solid"/>
          </a:ln>
          <a:effectLst/>
        </p:spPr>
        <p:txBody>
          <a:bodyPr anchor="ctr"/>
          <a:lstStyle/>
          <a:p>
            <a:pPr algn="ctr" fontAlgn="auto">
              <a:spcBef>
                <a:spcPts val="0"/>
              </a:spcBef>
              <a:spcAft>
                <a:spcPts val="0"/>
              </a:spcAft>
              <a:defRPr/>
            </a:pPr>
            <a:r>
              <a:rPr lang="en-US" sz="700" b="1" dirty="0">
                <a:solidFill>
                  <a:schemeClr val="tx2"/>
                </a:solidFill>
                <a:latin typeface="Verdana" pitchFamily="34" charset="0"/>
              </a:rPr>
              <a:t>LNG Terminal (“</a:t>
            </a:r>
            <a:r>
              <a:rPr lang="en-US" sz="700" b="1" dirty="0" err="1">
                <a:solidFill>
                  <a:schemeClr val="tx2"/>
                </a:solidFill>
                <a:latin typeface="Verdana" pitchFamily="34" charset="0"/>
              </a:rPr>
              <a:t>Revithoussa</a:t>
            </a:r>
            <a:r>
              <a:rPr lang="en-US" sz="700" b="1" dirty="0">
                <a:solidFill>
                  <a:schemeClr val="tx2"/>
                </a:solidFill>
                <a:latin typeface="Verdana" pitchFamily="34" charset="0"/>
              </a:rPr>
              <a:t>”)</a:t>
            </a:r>
          </a:p>
          <a:p>
            <a:pPr marL="88900" fontAlgn="auto">
              <a:spcBef>
                <a:spcPts val="0"/>
              </a:spcBef>
              <a:spcAft>
                <a:spcPts val="0"/>
              </a:spcAft>
              <a:defRPr/>
            </a:pPr>
            <a:r>
              <a:rPr lang="en-US" sz="700" dirty="0" smtClean="0">
                <a:solidFill>
                  <a:schemeClr val="tx2"/>
                </a:solidFill>
                <a:latin typeface="Verdana" pitchFamily="34" charset="0"/>
              </a:rPr>
              <a:t>Operational Capacity</a:t>
            </a:r>
            <a:r>
              <a:rPr lang="en-US" sz="700" dirty="0">
                <a:solidFill>
                  <a:schemeClr val="tx2"/>
                </a:solidFill>
                <a:latin typeface="Verdana" pitchFamily="34" charset="0"/>
              </a:rPr>
              <a:t>: </a:t>
            </a:r>
            <a:r>
              <a:rPr lang="en-US" sz="700" dirty="0" smtClean="0">
                <a:solidFill>
                  <a:schemeClr val="tx2"/>
                </a:solidFill>
                <a:latin typeface="Verdana" pitchFamily="34" charset="0"/>
              </a:rPr>
              <a:t>~4,4bcm / year</a:t>
            </a:r>
            <a:endParaRPr lang="en-US" sz="700" dirty="0">
              <a:solidFill>
                <a:schemeClr val="tx2"/>
              </a:solidFill>
              <a:latin typeface="Verdana" pitchFamily="34" charset="0"/>
            </a:endParaRPr>
          </a:p>
          <a:p>
            <a:pPr marL="88900" fontAlgn="auto">
              <a:spcBef>
                <a:spcPts val="0"/>
              </a:spcBef>
              <a:spcAft>
                <a:spcPts val="0"/>
              </a:spcAft>
              <a:defRPr/>
            </a:pPr>
            <a:r>
              <a:rPr lang="en-US" sz="700" dirty="0">
                <a:solidFill>
                  <a:schemeClr val="tx2"/>
                </a:solidFill>
                <a:latin typeface="Verdana" pitchFamily="34" charset="0"/>
              </a:rPr>
              <a:t>Storage: </a:t>
            </a:r>
            <a:r>
              <a:rPr lang="en-US" sz="700" dirty="0" smtClean="0">
                <a:solidFill>
                  <a:schemeClr val="tx2"/>
                </a:solidFill>
                <a:latin typeface="Verdana" pitchFamily="34" charset="0"/>
              </a:rPr>
              <a:t> 225.000 m</a:t>
            </a:r>
            <a:r>
              <a:rPr lang="en-US" sz="700" baseline="30000" dirty="0" smtClean="0">
                <a:solidFill>
                  <a:schemeClr val="tx2"/>
                </a:solidFill>
                <a:latin typeface="Verdana" pitchFamily="34" charset="0"/>
              </a:rPr>
              <a:t>3</a:t>
            </a:r>
          </a:p>
          <a:p>
            <a:pPr marL="88900" fontAlgn="auto">
              <a:spcBef>
                <a:spcPts val="0"/>
              </a:spcBef>
              <a:spcAft>
                <a:spcPts val="0"/>
              </a:spcAft>
              <a:defRPr/>
            </a:pPr>
            <a:r>
              <a:rPr lang="en-US" sz="700" dirty="0" smtClean="0">
                <a:solidFill>
                  <a:schemeClr val="tx2"/>
                </a:solidFill>
                <a:latin typeface="Verdana" pitchFamily="34" charset="0"/>
              </a:rPr>
              <a:t>Re-gasification Capacity : </a:t>
            </a:r>
          </a:p>
          <a:p>
            <a:pPr marL="88900" fontAlgn="auto">
              <a:spcBef>
                <a:spcPts val="0"/>
              </a:spcBef>
              <a:spcAft>
                <a:spcPts val="0"/>
              </a:spcAft>
              <a:defRPr/>
            </a:pPr>
            <a:r>
              <a:rPr lang="en-US" sz="700" dirty="0" smtClean="0">
                <a:solidFill>
                  <a:schemeClr val="tx2"/>
                </a:solidFill>
                <a:latin typeface="Verdana" pitchFamily="34" charset="0"/>
              </a:rPr>
              <a:t>12,47 mcm/d</a:t>
            </a:r>
            <a:endParaRPr lang="el-GR" sz="700" baseline="30000" dirty="0">
              <a:solidFill>
                <a:schemeClr val="tx2"/>
              </a:solidFill>
              <a:latin typeface="Verdana" pitchFamily="34" charset="0"/>
            </a:endParaRPr>
          </a:p>
        </p:txBody>
      </p:sp>
      <p:graphicFrame>
        <p:nvGraphicFramePr>
          <p:cNvPr id="23" name="Group 49"/>
          <p:cNvGraphicFramePr>
            <a:graphicFrameLocks noGrp="1"/>
          </p:cNvGraphicFramePr>
          <p:nvPr>
            <p:extLst>
              <p:ext uri="{D42A27DB-BD31-4B8C-83A1-F6EECF244321}">
                <p14:modId xmlns:p14="http://schemas.microsoft.com/office/powerpoint/2010/main" val="2167051796"/>
              </p:ext>
            </p:extLst>
          </p:nvPr>
        </p:nvGraphicFramePr>
        <p:xfrm>
          <a:off x="490514" y="1325513"/>
          <a:ext cx="4569166" cy="3265038"/>
        </p:xfrm>
        <a:graphic>
          <a:graphicData uri="http://schemas.openxmlformats.org/drawingml/2006/table">
            <a:tbl>
              <a:tblPr/>
              <a:tblGrid>
                <a:gridCol w="928983"/>
                <a:gridCol w="701072"/>
                <a:gridCol w="953557"/>
                <a:gridCol w="1012185"/>
                <a:gridCol w="973369"/>
              </a:tblGrid>
              <a:tr h="704718">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NATURAL GAS POWER PLAN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CAPACITY [MW]</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700" b="1" i="0" u="none" strike="noStrike" kern="1200" cap="none" spc="0" normalizeH="0" baseline="0" noProof="0" dirty="0" smtClean="0">
                        <a:ln>
                          <a:noFill/>
                        </a:ln>
                        <a:solidFill>
                          <a:schemeClr val="bg2"/>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CONSUMPTION</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2018  </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bcm)</a:t>
                      </a:r>
                    </a:p>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ESTIMATED CONSUMPTION</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2019  </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700" b="1" i="0" u="none" strike="noStrike" cap="none" normalizeH="0" baseline="0" dirty="0" err="1"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bcm</a:t>
                      </a: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ESTIMATED</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CONSUMPTION AS FROM 2021</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700" b="1" i="0" u="none" strike="noStrike" cap="none" normalizeH="0" baseline="0" dirty="0" err="1"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bcm</a:t>
                      </a: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r>
              <a:tr h="39640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LIVERI </a:t>
                      </a:r>
                      <a:endParaRPr kumimoji="0" lang="en-US" sz="700" b="0"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426,9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40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4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50</a:t>
                      </a:r>
                    </a:p>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9640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LAVRION</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945,2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23</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42</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20</a:t>
                      </a:r>
                    </a:p>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9640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MEGALOPOLIS</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832</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33</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3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90</a:t>
                      </a:r>
                      <a:endPar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9640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7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KOMOTINI</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484,6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29</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23</a:t>
                      </a:r>
                    </a:p>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9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0,1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bg1"/>
                    </a:solidFill>
                  </a:tcPr>
                </a:tc>
              </a:tr>
              <a:tr h="39640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TOTAL</a:t>
                      </a:r>
                      <a:endParaRPr kumimoji="0" lang="en-US" sz="1000" b="0" i="0" u="none" strike="noStrike"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2.688,7 </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10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1,2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10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1,45</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sz="10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en-US" sz="1000" b="1" i="0" u="none" strike="noStrike" kern="1200" cap="none" normalizeH="0" baseline="0" noProof="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a:t>
                      </a:r>
                      <a:r>
                        <a:rPr kumimoji="0" lang="en-US" sz="10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rPr>
                        <a:t>1,7</a:t>
                      </a:r>
                    </a:p>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1000" b="1" i="0" u="none" strike="noStrike" kern="1200" cap="none" normalizeH="0" baseline="0" dirty="0" smtClean="0">
                        <a:ln>
                          <a:noFill/>
                        </a:ln>
                        <a:solidFill>
                          <a:schemeClr val="bg2"/>
                        </a:solidFill>
                        <a:effectLst/>
                        <a:latin typeface="Verdana" panose="020B0604030504040204" pitchFamily="34" charset="0"/>
                        <a:ea typeface="Verdana" panose="020B0604030504040204" pitchFamily="34" charset="0"/>
                        <a:cs typeface="Verdana" panose="020B0604030504040204" pitchFamily="34"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3CCFF"/>
                    </a:solidFill>
                  </a:tcPr>
                </a:tc>
              </a:tr>
            </a:tbl>
          </a:graphicData>
        </a:graphic>
      </p:graphicFrame>
      <p:pic>
        <p:nvPicPr>
          <p:cNvPr id="19"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4378" y="81105"/>
            <a:ext cx="809625" cy="866775"/>
          </a:xfrm>
          <a:prstGeom prst="rect">
            <a:avLst/>
          </a:prstGeom>
          <a:ln>
            <a:noFill/>
          </a:ln>
          <a:effectLst/>
        </p:spPr>
      </p:pic>
      <p:sp>
        <p:nvSpPr>
          <p:cNvPr id="21" name="TextBox 20"/>
          <p:cNvSpPr txBox="1"/>
          <p:nvPr/>
        </p:nvSpPr>
        <p:spPr>
          <a:xfrm>
            <a:off x="1175263" y="369782"/>
            <a:ext cx="6096541" cy="342723"/>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bodyPr>
          <a:lstStyle>
            <a:defPPr>
              <a:defRPr lang="en-GB"/>
            </a:defPPr>
            <a:lvl1pPr marL="0" indent="0">
              <a:lnSpc>
                <a:spcPct val="80000"/>
              </a:lnSpc>
              <a:buFontTx/>
              <a:buNone/>
              <a:defRPr sz="2000" b="1">
                <a:solidFill>
                  <a:srgbClr val="002060"/>
                </a:solidFill>
                <a:latin typeface="+mn-lt"/>
                <a:cs typeface="CMCatalogue-Light"/>
              </a:defRPr>
            </a:lvl1pPr>
            <a:lvl2pPr>
              <a:lnSpc>
                <a:spcPct val="90000"/>
              </a:lnSpc>
              <a:defRPr sz="2400">
                <a:solidFill>
                  <a:schemeClr val="bg2"/>
                </a:solidFill>
                <a:latin typeface="Arial Black" charset="0"/>
                <a:ea typeface="Arial Unicode MS" pitchFamily="-109" charset="0"/>
                <a:cs typeface="Arial Unicode MS" pitchFamily="-109" charset="0"/>
              </a:defRPr>
            </a:lvl2pPr>
            <a:lvl3pPr>
              <a:lnSpc>
                <a:spcPct val="90000"/>
              </a:lnSpc>
              <a:defRPr sz="2400">
                <a:solidFill>
                  <a:schemeClr val="bg2"/>
                </a:solidFill>
                <a:latin typeface="Arial Black" charset="0"/>
                <a:ea typeface="Arial Unicode MS" pitchFamily="-109" charset="0"/>
                <a:cs typeface="Arial Unicode MS" pitchFamily="-109" charset="0"/>
              </a:defRPr>
            </a:lvl3pPr>
            <a:lvl4pPr>
              <a:lnSpc>
                <a:spcPct val="90000"/>
              </a:lnSpc>
              <a:defRPr sz="2400">
                <a:solidFill>
                  <a:schemeClr val="bg2"/>
                </a:solidFill>
                <a:latin typeface="Arial Black" charset="0"/>
                <a:ea typeface="Arial Unicode MS" pitchFamily="-109" charset="0"/>
                <a:cs typeface="Arial Unicode MS" pitchFamily="-109" charset="0"/>
              </a:defRPr>
            </a:lvl4pPr>
            <a:lvl5pPr>
              <a:lnSpc>
                <a:spcPct val="90000"/>
              </a:lnSpc>
              <a:defRPr sz="2400">
                <a:solidFill>
                  <a:schemeClr val="bg2"/>
                </a:solidFill>
                <a:latin typeface="Arial Black" charset="0"/>
                <a:ea typeface="Arial Unicode MS" pitchFamily="-109" charset="0"/>
                <a:cs typeface="Arial Unicode MS" pitchFamily="-109" charset="0"/>
              </a:defRPr>
            </a:lvl5pPr>
            <a:lvl6pPr marL="4572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r>
              <a:rPr lang="en-US" dirty="0" smtClean="0"/>
              <a:t>Natural gas: A transitory fuel in PPC’s </a:t>
            </a:r>
            <a:r>
              <a:rPr lang="en-US" dirty="0" err="1" smtClean="0"/>
              <a:t>Portofolio</a:t>
            </a:r>
            <a:endParaRPr lang="el-GR" dirty="0"/>
          </a:p>
        </p:txBody>
      </p:sp>
      <p:cxnSp>
        <p:nvCxnSpPr>
          <p:cNvPr id="5" name="Ευθεία γραμμή σύνδεσης 4"/>
          <p:cNvCxnSpPr/>
          <p:nvPr/>
        </p:nvCxnSpPr>
        <p:spPr bwMode="auto">
          <a:xfrm flipH="1" flipV="1">
            <a:off x="8830491" y="1577638"/>
            <a:ext cx="8709" cy="364103"/>
          </a:xfrm>
          <a:prstGeom prst="line">
            <a:avLst/>
          </a:prstGeom>
          <a:solidFill>
            <a:schemeClr val="accent1"/>
          </a:solidFill>
          <a:ln w="44450" cap="flat" cmpd="sng" algn="ctr">
            <a:solidFill>
              <a:srgbClr val="4F81BD"/>
            </a:solidFill>
            <a:prstDash val="solid"/>
            <a:round/>
            <a:headEnd type="none" w="med" len="med"/>
            <a:tailEnd type="none" w="med" len="med"/>
          </a:ln>
          <a:effectLst/>
        </p:spPr>
      </p:cxnSp>
      <p:sp>
        <p:nvSpPr>
          <p:cNvPr id="24" name="AutoShape 3"/>
          <p:cNvSpPr>
            <a:spLocks noChangeArrowheads="1"/>
          </p:cNvSpPr>
          <p:nvPr/>
        </p:nvSpPr>
        <p:spPr bwMode="gray">
          <a:xfrm>
            <a:off x="490514" y="5171262"/>
            <a:ext cx="3900918" cy="1203977"/>
          </a:xfrm>
          <a:prstGeom prst="flowChartAlternateProcess">
            <a:avLst/>
          </a:prstGeom>
          <a:solidFill>
            <a:srgbClr val="1F487D"/>
          </a:solidFill>
          <a:ln>
            <a:noFill/>
          </a:ln>
          <a:extLst/>
        </p:spPr>
        <p:txBody>
          <a:bodyPr lIns="33231" tIns="33231" rIns="33231" bIns="33231" anchor="ctr"/>
          <a:lstStyle/>
          <a:p>
            <a:pPr eaLnBrk="1" fontAlgn="auto" hangingPunct="1">
              <a:spcBef>
                <a:spcPts val="600"/>
              </a:spcBef>
              <a:spcAft>
                <a:spcPts val="600"/>
              </a:spcAft>
            </a:pPr>
            <a:r>
              <a:rPr lang="en-US" sz="1600" b="1" dirty="0">
                <a:solidFill>
                  <a:schemeClr val="bg1"/>
                </a:solidFill>
                <a:latin typeface="+mn-lt"/>
                <a:ea typeface="Calibri" panose="020F0502020204030204" pitchFamily="34" charset="0"/>
                <a:cs typeface="Times New Roman" panose="02020603050405020304" pitchFamily="18" charset="0"/>
              </a:rPr>
              <a:t>PPC is currently the largest natural gas consumer in the country and the Balkans, using gas for power generation.</a:t>
            </a:r>
          </a:p>
        </p:txBody>
      </p:sp>
    </p:spTree>
    <p:extLst>
      <p:ext uri="{BB962C8B-B14F-4D97-AF65-F5344CB8AC3E}">
        <p14:creationId xmlns:p14="http://schemas.microsoft.com/office/powerpoint/2010/main" val="3949621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638508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2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nSpc>
                <a:spcPct val="90000"/>
              </a:lnSpc>
            </a:pPr>
            <a:endParaRPr kumimoji="0" lang="el-GR" sz="1000" b="1" u="none" strike="noStrike" cap="none" normalizeH="0" dirty="0">
              <a:ln>
                <a:noFill/>
              </a:ln>
              <a:solidFill>
                <a:schemeClr val="tx1"/>
              </a:solidFill>
              <a:effectLst/>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11" name="Slide Number Placeholder 4"/>
          <p:cNvSpPr txBox="1">
            <a:spLocks/>
          </p:cNvSpPr>
          <p:nvPr/>
        </p:nvSpPr>
        <p:spPr>
          <a:xfrm>
            <a:off x="8878254" y="6549182"/>
            <a:ext cx="317500" cy="188913"/>
          </a:xfrm>
          <a:prstGeom prst="rect">
            <a:avLst/>
          </a:prstGeom>
        </p:spPr>
        <p:txBody>
          <a:bodyP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a:defRPr/>
            </a:pPr>
            <a:fld id="{ACAC583F-A320-4755-A148-4B03D13D5D56}" type="slidenum">
              <a:rPr lang="en-GB" sz="800" b="1" smtClean="0"/>
              <a:pPr>
                <a:defRPr/>
              </a:pPr>
              <a:t>8</a:t>
            </a:fld>
            <a:endParaRPr lang="en-GB" sz="800" b="1" dirty="0"/>
          </a:p>
        </p:txBody>
      </p:sp>
      <p:sp>
        <p:nvSpPr>
          <p:cNvPr id="15" name="Τίτλος 1"/>
          <p:cNvSpPr txBox="1">
            <a:spLocks/>
          </p:cNvSpPr>
          <p:nvPr/>
        </p:nvSpPr>
        <p:spPr>
          <a:xfrm>
            <a:off x="1156856" y="374694"/>
            <a:ext cx="7601383" cy="307086"/>
          </a:xfrm>
          <a:prstGeom prst="rect">
            <a:avLst/>
          </a:prstGeom>
        </p:spPr>
        <p:txBody>
          <a:bodyPr/>
          <a:lstStyle>
            <a:lvl1pPr marL="0" indent="0" algn="l" rtl="0" eaLnBrk="0" fontAlgn="base" hangingPunct="0">
              <a:lnSpc>
                <a:spcPct val="80000"/>
              </a:lnSpc>
              <a:spcBef>
                <a:spcPct val="0"/>
              </a:spcBef>
              <a:spcAft>
                <a:spcPct val="0"/>
              </a:spcAft>
              <a:buFontTx/>
              <a:buNone/>
              <a:defRPr lang="en-US" altLang="zh-TW" sz="2000" kern="1200" dirty="0">
                <a:solidFill>
                  <a:srgbClr val="1F497D"/>
                </a:solidFill>
                <a:latin typeface="+mn-lt"/>
                <a:ea typeface="Arial Unicode MS" charset="0"/>
                <a:cs typeface="CMCatalogue-Light"/>
              </a:defRPr>
            </a:lvl1pPr>
            <a:lvl2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2pPr>
            <a:lvl3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3pPr>
            <a:lvl4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4pPr>
            <a:lvl5pPr algn="l" rtl="0" eaLnBrk="0" fontAlgn="base" hangingPunct="0">
              <a:lnSpc>
                <a:spcPct val="90000"/>
              </a:lnSpc>
              <a:spcBef>
                <a:spcPct val="0"/>
              </a:spcBef>
              <a:spcAft>
                <a:spcPct val="0"/>
              </a:spcAft>
              <a:defRPr sz="2400">
                <a:solidFill>
                  <a:schemeClr val="bg2"/>
                </a:solidFill>
                <a:latin typeface="Arial Black" charset="0"/>
                <a:ea typeface="Arial Unicode MS" pitchFamily="-109" charset="0"/>
                <a:cs typeface="Arial Unicode MS" pitchFamily="-109" charset="0"/>
              </a:defRPr>
            </a:lvl5pPr>
            <a:lvl6pPr marL="4572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algn="l" rtl="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pPr>
              <a:spcAft>
                <a:spcPts val="600"/>
              </a:spcAft>
            </a:pPr>
            <a:r>
              <a:rPr sz="1800" b="1" dirty="0" smtClean="0">
                <a:solidFill>
                  <a:srgbClr val="002060"/>
                </a:solidFill>
                <a:cs typeface="Arial Unicode MS" charset="0"/>
              </a:rPr>
              <a:t>Transition of PPC to a cleaner energy mix </a:t>
            </a:r>
          </a:p>
        </p:txBody>
      </p:sp>
      <p:graphicFrame>
        <p:nvGraphicFramePr>
          <p:cNvPr id="24" name="Chart 23" descr="AQAAAAAQABH2pzQkjo1EndYfi80Xp0Cqbu8RZiSPFIs71rQfugAkhXYh4fQPLftxF/MeLScPkxFtT/2iFgRaja670MdBz6u9AKsXJzri2QDYncpDQ6Ic"/>
          <p:cNvGraphicFramePr/>
          <p:nvPr>
            <p:extLst>
              <p:ext uri="{D42A27DB-BD31-4B8C-83A1-F6EECF244321}">
                <p14:modId xmlns:p14="http://schemas.microsoft.com/office/powerpoint/2010/main" val="1601391741"/>
              </p:ext>
            </p:extLst>
          </p:nvPr>
        </p:nvGraphicFramePr>
        <p:xfrm>
          <a:off x="462309" y="1148262"/>
          <a:ext cx="8289811" cy="3832111"/>
        </p:xfrm>
        <a:graphic>
          <a:graphicData uri="http://schemas.openxmlformats.org/drawingml/2006/chart">
            <c:chart xmlns:c="http://schemas.openxmlformats.org/drawingml/2006/chart" xmlns:r="http://schemas.openxmlformats.org/officeDocument/2006/relationships" r:id="rId8"/>
          </a:graphicData>
        </a:graphic>
      </p:graphicFrame>
      <p:sp>
        <p:nvSpPr>
          <p:cNvPr id="25" name="TextBox 24"/>
          <p:cNvSpPr txBox="1"/>
          <p:nvPr/>
        </p:nvSpPr>
        <p:spPr>
          <a:xfrm>
            <a:off x="507055" y="1593322"/>
            <a:ext cx="408125" cy="246221"/>
          </a:xfrm>
          <a:prstGeom prst="rect">
            <a:avLst/>
          </a:prstGeom>
          <a:noFill/>
        </p:spPr>
        <p:txBody>
          <a:bodyPr wrap="none" lIns="0" rtlCol="0">
            <a:spAutoFit/>
          </a:bodyPr>
          <a:lstStyle/>
          <a:p>
            <a:pPr eaLnBrk="1" fontAlgn="auto" hangingPunct="1">
              <a:spcBef>
                <a:spcPts val="0"/>
              </a:spcBef>
              <a:spcAft>
                <a:spcPts val="0"/>
              </a:spcAft>
              <a:defRPr/>
            </a:pPr>
            <a:r>
              <a:rPr lang="en-GB" sz="1000" dirty="0" smtClean="0">
                <a:solidFill>
                  <a:srgbClr val="001F5F"/>
                </a:solidFill>
                <a:latin typeface="Arial"/>
              </a:rPr>
              <a:t>(MW)</a:t>
            </a:r>
            <a:endParaRPr lang="en-GB" sz="1000" dirty="0">
              <a:solidFill>
                <a:srgbClr val="001F5F"/>
              </a:solidFill>
              <a:latin typeface="Arial"/>
            </a:endParaRPr>
          </a:p>
        </p:txBody>
      </p:sp>
      <p:sp>
        <p:nvSpPr>
          <p:cNvPr id="9" name="AutoShape 3"/>
          <p:cNvSpPr>
            <a:spLocks noChangeArrowheads="1"/>
          </p:cNvSpPr>
          <p:nvPr/>
        </p:nvSpPr>
        <p:spPr bwMode="gray">
          <a:xfrm>
            <a:off x="507055" y="5067324"/>
            <a:ext cx="8245065" cy="997386"/>
          </a:xfrm>
          <a:prstGeom prst="flowChartAlternateProcess">
            <a:avLst/>
          </a:prstGeom>
          <a:solidFill>
            <a:srgbClr val="1F487D"/>
          </a:solidFill>
          <a:ln>
            <a:noFill/>
          </a:ln>
          <a:extLst/>
        </p:spPr>
        <p:txBody>
          <a:bodyPr lIns="33231" tIns="33231" rIns="33231" bIns="33231" anchor="ctr"/>
          <a:lstStyle/>
          <a:p>
            <a:pPr marL="285750" indent="-285750" eaLnBrk="1" fontAlgn="auto" hangingPunct="1">
              <a:spcBef>
                <a:spcPts val="0"/>
              </a:spcBef>
              <a:spcAft>
                <a:spcPts val="600"/>
              </a:spcAft>
              <a:buFont typeface="Arial" panose="020B0604020202020204" pitchFamily="34" charset="0"/>
              <a:buChar char="•"/>
            </a:pPr>
            <a:r>
              <a:rPr lang="en-US" sz="1600" b="1" dirty="0">
                <a:solidFill>
                  <a:schemeClr val="bg1"/>
                </a:solidFill>
                <a:latin typeface="+mn-lt"/>
                <a:ea typeface="Calibri" panose="020F0502020204030204" pitchFamily="34" charset="0"/>
                <a:cs typeface="Times New Roman" panose="02020603050405020304" pitchFamily="18" charset="0"/>
              </a:rPr>
              <a:t>Reduction of </a:t>
            </a:r>
            <a:r>
              <a:rPr lang="en-US" sz="1600" b="1" dirty="0" smtClean="0">
                <a:solidFill>
                  <a:schemeClr val="bg1"/>
                </a:solidFill>
                <a:latin typeface="+mn-lt"/>
                <a:ea typeface="Calibri" panose="020F0502020204030204" pitchFamily="34" charset="0"/>
                <a:cs typeface="Times New Roman" panose="02020603050405020304" pitchFamily="18" charset="0"/>
              </a:rPr>
              <a:t>installed lignite-fired </a:t>
            </a:r>
            <a:r>
              <a:rPr lang="en-US" sz="1600" b="1" dirty="0">
                <a:solidFill>
                  <a:schemeClr val="bg1"/>
                </a:solidFill>
                <a:latin typeface="+mn-lt"/>
                <a:ea typeface="Calibri" panose="020F0502020204030204" pitchFamily="34" charset="0"/>
                <a:cs typeface="Times New Roman" panose="02020603050405020304" pitchFamily="18" charset="0"/>
              </a:rPr>
              <a:t>capacity by c.50% by </a:t>
            </a:r>
            <a:r>
              <a:rPr lang="en-US" sz="1600" b="1" dirty="0" smtClean="0">
                <a:solidFill>
                  <a:schemeClr val="bg1"/>
                </a:solidFill>
                <a:latin typeface="+mn-lt"/>
                <a:ea typeface="Calibri" panose="020F0502020204030204" pitchFamily="34" charset="0"/>
                <a:cs typeface="Times New Roman" panose="02020603050405020304" pitchFamily="18" charset="0"/>
              </a:rPr>
              <a:t>2022</a:t>
            </a:r>
          </a:p>
          <a:p>
            <a:pPr marL="285750" indent="-285750" eaLnBrk="1" fontAlgn="auto" hangingPunct="1">
              <a:spcBef>
                <a:spcPts val="0"/>
              </a:spcBef>
              <a:spcAft>
                <a:spcPts val="600"/>
              </a:spcAft>
              <a:buFont typeface="Arial" panose="020B0604020202020204" pitchFamily="34" charset="0"/>
              <a:buChar char="•"/>
            </a:pPr>
            <a:r>
              <a:rPr lang="en-US" sz="1600" b="1" dirty="0" smtClean="0">
                <a:solidFill>
                  <a:schemeClr val="bg1"/>
                </a:solidFill>
                <a:latin typeface="+mn-lt"/>
                <a:ea typeface="Calibri" panose="020F0502020204030204" pitchFamily="34" charset="0"/>
                <a:cs typeface="Times New Roman" panose="02020603050405020304" pitchFamily="18" charset="0"/>
              </a:rPr>
              <a:t>Lignite-fired generation vital for the security of supply during the energy transition</a:t>
            </a:r>
            <a:endParaRPr lang="en-US" sz="1600" b="1" dirty="0">
              <a:solidFill>
                <a:schemeClr val="bg1"/>
              </a:solidFill>
              <a:latin typeface="+mn-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68478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142" name="think-cell Slide" r:id="rId6" imgW="384" imgH="384" progId="TCLayout.ActiveDocument.1">
                  <p:embed/>
                </p:oleObj>
              </mc:Choice>
              <mc:Fallback>
                <p:oleObj name="think-cell Slide" r:id="rId6" imgW="384" imgH="38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a:lnSpc>
                <a:spcPct val="80000"/>
              </a:lnSpc>
            </a:pPr>
            <a:endParaRPr kumimoji="0" lang="en-US" sz="2000" b="1" u="none" strike="noStrike" cap="none" normalizeH="0" dirty="0">
              <a:ln>
                <a:noFill/>
              </a:ln>
              <a:solidFill>
                <a:schemeClr val="tx1"/>
              </a:solidFill>
              <a:effectLst/>
              <a:latin typeface="Arial" panose="020B0604020202020204" pitchFamily="34" charset="0"/>
              <a:ea typeface="Arial Unicode MS" panose="020B0604020202020204" pitchFamily="34" charset="-128"/>
              <a:cs typeface="Arial" panose="020B0604020202020204" pitchFamily="34" charset="0"/>
              <a:sym typeface="Arial" panose="020B0604020202020204" pitchFamily="34" charset="0"/>
            </a:endParaRPr>
          </a:p>
        </p:txBody>
      </p:sp>
      <p:sp>
        <p:nvSpPr>
          <p:cNvPr id="6" name="Slide Number Placeholder 4"/>
          <p:cNvSpPr txBox="1">
            <a:spLocks/>
          </p:cNvSpPr>
          <p:nvPr/>
        </p:nvSpPr>
        <p:spPr>
          <a:xfrm>
            <a:off x="8878254" y="6546488"/>
            <a:ext cx="317500" cy="188913"/>
          </a:xfrm>
          <a:prstGeom prst="rect">
            <a:avLst/>
          </a:prstGeom>
        </p:spPr>
        <p:txBody>
          <a:bodyPr/>
          <a:lstStyle>
            <a:defPPr>
              <a:defRPr lang="en-GB"/>
            </a:defPPr>
            <a:lvl1pPr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1pPr>
            <a:lvl2pPr marL="4572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2pPr>
            <a:lvl3pPr marL="9144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3pPr>
            <a:lvl4pPr marL="13716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4pPr>
            <a:lvl5pPr marL="1828800" algn="l" rtl="0" eaLnBrk="0" fontAlgn="base" hangingPunct="0">
              <a:spcBef>
                <a:spcPct val="0"/>
              </a:spcBef>
              <a:spcAft>
                <a:spcPct val="0"/>
              </a:spcAft>
              <a:defRPr sz="1100" kern="1200">
                <a:solidFill>
                  <a:schemeClr val="tx1"/>
                </a:solidFill>
                <a:latin typeface="Arial" charset="0"/>
                <a:ea typeface="Arial Unicode MS" charset="0"/>
                <a:cs typeface="Arial Unicode MS" charset="0"/>
              </a:defRPr>
            </a:lvl5pPr>
            <a:lvl6pPr marL="2286000" algn="l" defTabSz="457200" rtl="0" eaLnBrk="1" latinLnBrk="0" hangingPunct="1">
              <a:defRPr sz="1100" kern="1200">
                <a:solidFill>
                  <a:schemeClr val="tx1"/>
                </a:solidFill>
                <a:latin typeface="Arial" charset="0"/>
                <a:ea typeface="Arial Unicode MS" charset="0"/>
                <a:cs typeface="Arial Unicode MS" charset="0"/>
              </a:defRPr>
            </a:lvl6pPr>
            <a:lvl7pPr marL="2743200" algn="l" defTabSz="457200" rtl="0" eaLnBrk="1" latinLnBrk="0" hangingPunct="1">
              <a:defRPr sz="1100" kern="1200">
                <a:solidFill>
                  <a:schemeClr val="tx1"/>
                </a:solidFill>
                <a:latin typeface="Arial" charset="0"/>
                <a:ea typeface="Arial Unicode MS" charset="0"/>
                <a:cs typeface="Arial Unicode MS" charset="0"/>
              </a:defRPr>
            </a:lvl7pPr>
            <a:lvl8pPr marL="3200400" algn="l" defTabSz="457200" rtl="0" eaLnBrk="1" latinLnBrk="0" hangingPunct="1">
              <a:defRPr sz="1100" kern="1200">
                <a:solidFill>
                  <a:schemeClr val="tx1"/>
                </a:solidFill>
                <a:latin typeface="Arial" charset="0"/>
                <a:ea typeface="Arial Unicode MS" charset="0"/>
                <a:cs typeface="Arial Unicode MS" charset="0"/>
              </a:defRPr>
            </a:lvl8pPr>
            <a:lvl9pPr marL="3657600" algn="l" defTabSz="457200" rtl="0" eaLnBrk="1" latinLnBrk="0" hangingPunct="1">
              <a:defRPr sz="1100" kern="1200">
                <a:solidFill>
                  <a:schemeClr val="tx1"/>
                </a:solidFill>
                <a:latin typeface="Arial" charset="0"/>
                <a:ea typeface="Arial Unicode MS" charset="0"/>
                <a:cs typeface="Arial Unicode MS" charset="0"/>
              </a:defRPr>
            </a:lvl9pPr>
          </a:lstStyle>
          <a:p>
            <a:pPr>
              <a:defRPr/>
            </a:pPr>
            <a:fld id="{ACAC583F-A320-4755-A148-4B03D13D5D56}" type="slidenum">
              <a:rPr lang="en-GB" sz="800" b="1" smtClean="0"/>
              <a:pPr>
                <a:defRPr/>
              </a:pPr>
              <a:t>9</a:t>
            </a:fld>
            <a:endParaRPr lang="en-GB" sz="800" b="1" dirty="0"/>
          </a:p>
        </p:txBody>
      </p:sp>
      <p:graphicFrame>
        <p:nvGraphicFramePr>
          <p:cNvPr id="19" name="Γράφημα 1"/>
          <p:cNvGraphicFramePr>
            <a:graphicFrameLocks/>
          </p:cNvGraphicFramePr>
          <p:nvPr>
            <p:extLst>
              <p:ext uri="{D42A27DB-BD31-4B8C-83A1-F6EECF244321}">
                <p14:modId xmlns:p14="http://schemas.microsoft.com/office/powerpoint/2010/main" val="1181587985"/>
              </p:ext>
            </p:extLst>
          </p:nvPr>
        </p:nvGraphicFramePr>
        <p:xfrm>
          <a:off x="685800" y="1159933"/>
          <a:ext cx="7950200" cy="4309533"/>
        </p:xfrm>
        <a:graphic>
          <a:graphicData uri="http://schemas.openxmlformats.org/drawingml/2006/chart">
            <c:chart xmlns:c="http://schemas.openxmlformats.org/drawingml/2006/chart" xmlns:r="http://schemas.openxmlformats.org/officeDocument/2006/relationships" r:id="rId8"/>
          </a:graphicData>
        </a:graphic>
      </p:graphicFrame>
      <p:sp>
        <p:nvSpPr>
          <p:cNvPr id="20" name="TextBox 19"/>
          <p:cNvSpPr txBox="1"/>
          <p:nvPr/>
        </p:nvSpPr>
        <p:spPr>
          <a:xfrm>
            <a:off x="1175263" y="369782"/>
            <a:ext cx="6096541" cy="342723"/>
          </a:xfrm>
          <a:prstGeom prst="rect">
            <a:avLst/>
          </a:prstGeom>
          <a:noFill/>
          <a:ln w="9525">
            <a:noFill/>
            <a:miter lim="800000"/>
            <a:headEnd/>
            <a:tailEnd/>
          </a:ln>
        </p:spPr>
        <p:txBody>
          <a:bodyPr vert="horz" wrap="square" lIns="91418" tIns="45709" rIns="91418" bIns="45709" numCol="1" anchor="ctr" anchorCtr="0" compatLnSpc="1">
            <a:prstTxWarp prst="textNoShape">
              <a:avLst/>
            </a:prstTxWarp>
          </a:bodyPr>
          <a:lstStyle>
            <a:defPPr>
              <a:defRPr lang="en-GB"/>
            </a:defPPr>
            <a:lvl1pPr marL="0" indent="0">
              <a:lnSpc>
                <a:spcPct val="80000"/>
              </a:lnSpc>
              <a:buFontTx/>
              <a:buNone/>
              <a:defRPr sz="2000" b="1">
                <a:solidFill>
                  <a:srgbClr val="002060"/>
                </a:solidFill>
                <a:latin typeface="+mn-lt"/>
                <a:cs typeface="CMCatalogue-Light"/>
              </a:defRPr>
            </a:lvl1pPr>
            <a:lvl2pPr>
              <a:lnSpc>
                <a:spcPct val="90000"/>
              </a:lnSpc>
              <a:defRPr sz="2400">
                <a:solidFill>
                  <a:schemeClr val="bg2"/>
                </a:solidFill>
                <a:latin typeface="Arial Black" charset="0"/>
                <a:ea typeface="Arial Unicode MS" pitchFamily="-109" charset="0"/>
                <a:cs typeface="Arial Unicode MS" pitchFamily="-109" charset="0"/>
              </a:defRPr>
            </a:lvl2pPr>
            <a:lvl3pPr>
              <a:lnSpc>
                <a:spcPct val="90000"/>
              </a:lnSpc>
              <a:defRPr sz="2400">
                <a:solidFill>
                  <a:schemeClr val="bg2"/>
                </a:solidFill>
                <a:latin typeface="Arial Black" charset="0"/>
                <a:ea typeface="Arial Unicode MS" pitchFamily="-109" charset="0"/>
                <a:cs typeface="Arial Unicode MS" pitchFamily="-109" charset="0"/>
              </a:defRPr>
            </a:lvl3pPr>
            <a:lvl4pPr>
              <a:lnSpc>
                <a:spcPct val="90000"/>
              </a:lnSpc>
              <a:defRPr sz="2400">
                <a:solidFill>
                  <a:schemeClr val="bg2"/>
                </a:solidFill>
                <a:latin typeface="Arial Black" charset="0"/>
                <a:ea typeface="Arial Unicode MS" pitchFamily="-109" charset="0"/>
                <a:cs typeface="Arial Unicode MS" pitchFamily="-109" charset="0"/>
              </a:defRPr>
            </a:lvl4pPr>
            <a:lvl5pPr>
              <a:lnSpc>
                <a:spcPct val="90000"/>
              </a:lnSpc>
              <a:defRPr sz="2400">
                <a:solidFill>
                  <a:schemeClr val="bg2"/>
                </a:solidFill>
                <a:latin typeface="Arial Black" charset="0"/>
                <a:ea typeface="Arial Unicode MS" pitchFamily="-109" charset="0"/>
                <a:cs typeface="Arial Unicode MS" pitchFamily="-109" charset="0"/>
              </a:defRPr>
            </a:lvl5pPr>
            <a:lvl6pPr marL="4572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6pPr>
            <a:lvl7pPr marL="9144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7pPr>
            <a:lvl8pPr marL="13716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8pPr>
            <a:lvl9pPr marL="1828800" fontAlgn="base">
              <a:lnSpc>
                <a:spcPct val="90000"/>
              </a:lnSpc>
              <a:spcBef>
                <a:spcPct val="0"/>
              </a:spcBef>
              <a:spcAft>
                <a:spcPct val="0"/>
              </a:spcAft>
              <a:defRPr sz="3200">
                <a:solidFill>
                  <a:schemeClr val="bg2"/>
                </a:solidFill>
                <a:latin typeface="Arial" pitchFamily="-109" charset="0"/>
                <a:ea typeface="Arial Unicode MS" pitchFamily="-109" charset="0"/>
                <a:cs typeface="Arial Unicode MS" pitchFamily="-109" charset="0"/>
              </a:defRPr>
            </a:lvl9pPr>
          </a:lstStyle>
          <a:p>
            <a:r>
              <a:rPr lang="en-US" dirty="0"/>
              <a:t>Reduction of carbon intensity of PPC generation</a:t>
            </a:r>
            <a:endParaRPr lang="el-GR" dirty="0"/>
          </a:p>
        </p:txBody>
      </p:sp>
      <p:sp>
        <p:nvSpPr>
          <p:cNvPr id="21" name="AutoShape 3"/>
          <p:cNvSpPr>
            <a:spLocks noChangeArrowheads="1"/>
          </p:cNvSpPr>
          <p:nvPr/>
        </p:nvSpPr>
        <p:spPr bwMode="gray">
          <a:xfrm>
            <a:off x="685801" y="5507256"/>
            <a:ext cx="7950199" cy="893543"/>
          </a:xfrm>
          <a:prstGeom prst="flowChartAlternateProcess">
            <a:avLst/>
          </a:prstGeom>
          <a:solidFill>
            <a:srgbClr val="1F487D"/>
          </a:solidFill>
          <a:ln>
            <a:noFill/>
          </a:ln>
          <a:extLst/>
        </p:spPr>
        <p:txBody>
          <a:bodyPr lIns="33231" tIns="33231" rIns="33231" bIns="33231" anchor="ctr"/>
          <a:lstStyle/>
          <a:p>
            <a:pPr eaLnBrk="1" fontAlgn="auto" hangingPunct="1">
              <a:lnSpc>
                <a:spcPct val="150000"/>
              </a:lnSpc>
              <a:spcBef>
                <a:spcPts val="0"/>
              </a:spcBef>
              <a:spcAft>
                <a:spcPts val="0"/>
              </a:spcAft>
            </a:pPr>
            <a:r>
              <a:rPr lang="en-GB" sz="1600" b="1" dirty="0">
                <a:solidFill>
                  <a:schemeClr val="bg1"/>
                </a:solidFill>
                <a:latin typeface="+mn-lt"/>
                <a:ea typeface="Calibri" panose="020F0502020204030204" pitchFamily="34" charset="0"/>
                <a:cs typeface="Times New Roman" panose="02020603050405020304" pitchFamily="18" charset="0"/>
              </a:rPr>
              <a:t>D</a:t>
            </a:r>
            <a:r>
              <a:rPr lang="en-GB" sz="1600" b="1" dirty="0">
                <a:solidFill>
                  <a:schemeClr val="bg1"/>
                </a:solidFill>
                <a:latin typeface="+mn-lt"/>
                <a:ea typeface="Calibri" panose="020F0502020204030204" pitchFamily="34" charset="0"/>
                <a:cs typeface="Arial" panose="020B0604020202020204" pitchFamily="34" charset="0"/>
              </a:rPr>
              <a:t>rastic reduction of CO</a:t>
            </a:r>
            <a:r>
              <a:rPr lang="en-GB" sz="1600" b="1" baseline="-25000" dirty="0">
                <a:solidFill>
                  <a:schemeClr val="bg1"/>
                </a:solidFill>
                <a:latin typeface="+mn-lt"/>
                <a:ea typeface="Calibri" panose="020F0502020204030204" pitchFamily="34" charset="0"/>
                <a:cs typeface="Arial" panose="020B0604020202020204" pitchFamily="34" charset="0"/>
              </a:rPr>
              <a:t>2 </a:t>
            </a:r>
            <a:r>
              <a:rPr lang="en-GB" sz="1600" b="1" dirty="0">
                <a:solidFill>
                  <a:schemeClr val="bg1"/>
                </a:solidFill>
                <a:latin typeface="+mn-lt"/>
                <a:ea typeface="Calibri" panose="020F0502020204030204" pitchFamily="34" charset="0"/>
                <a:cs typeface="Arial" panose="020B0604020202020204" pitchFamily="34" charset="0"/>
              </a:rPr>
              <a:t>emissions by approximately 57% until 2022, bringing about significant decrease of carbon intensity of PPC generation</a:t>
            </a:r>
            <a:r>
              <a:rPr lang="en-GB" sz="1600" b="1" dirty="0" smtClean="0">
                <a:solidFill>
                  <a:schemeClr val="bg1"/>
                </a:solidFill>
                <a:latin typeface="+mn-lt"/>
                <a:ea typeface="Calibri" panose="020F0502020204030204" pitchFamily="34" charset="0"/>
                <a:cs typeface="Arial" panose="020B0604020202020204" pitchFamily="34" charset="0"/>
              </a:rPr>
              <a:t>.</a:t>
            </a:r>
            <a:endParaRPr lang="en-GB" sz="1600" b="1" dirty="0">
              <a:solidFill>
                <a:schemeClr val="bg1"/>
              </a:solidFill>
              <a:latin typeface="+mn-l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93015426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6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2.70999999999999996447E+00&quot;&gt;&lt;m_msothmcolidx val=&quot;0&quot;/&gt;&lt;m_rgb r=&quot;00&quot; g=&quot;20&quot; b=&quot;60&quot;/&gt;&lt;m_nBrightness tagver0=&quot;26206&quot; tagname0=&quot;m_nBrightnessUNRECOGNIZED&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MASTER_ITEM" val="MASTER_ITEM"/>
  <p:tag name="SLIDE_TYPE_NAME" val="Three Vertical Boxes (10pt) - Medium and Smal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QfBIYhCRmeA4w1z3PYnD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EBdnuRoTqKbOoUvdguV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CEBdnuRoTqKbOoUvdguV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CEBdnuRoTqKbOoUvdguV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noqB7HDlRISX2PFRqxaC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oup PowerPoint TemplateOgilvy">
  <a:themeElements>
    <a:clrScheme name="">
      <a:dk1>
        <a:srgbClr val="808080"/>
      </a:dk1>
      <a:lt1>
        <a:srgbClr val="FFFFFF"/>
      </a:lt1>
      <a:dk2>
        <a:srgbClr val="0099B5"/>
      </a:dk2>
      <a:lt2>
        <a:srgbClr val="000000"/>
      </a:lt2>
      <a:accent1>
        <a:srgbClr val="CC0009"/>
      </a:accent1>
      <a:accent2>
        <a:srgbClr val="F99B0C"/>
      </a:accent2>
      <a:accent3>
        <a:srgbClr val="FFFFFF"/>
      </a:accent3>
      <a:accent4>
        <a:srgbClr val="6C6C6C"/>
      </a:accent4>
      <a:accent5>
        <a:srgbClr val="E2AAAA"/>
      </a:accent5>
      <a:accent6>
        <a:srgbClr val="E28C0A"/>
      </a:accent6>
      <a:hlink>
        <a:srgbClr val="E0E20C"/>
      </a:hlink>
      <a:folHlink>
        <a:srgbClr val="7FBA00"/>
      </a:folHlink>
    </a:clrScheme>
    <a:fontScheme name="Office Theme">
      <a:majorFont>
        <a:latin typeface="Arial"/>
        <a:ea typeface="Arial Unicode MS"/>
        <a:cs typeface="Arial Unicode MS"/>
      </a:majorFont>
      <a:minorFont>
        <a:latin typeface="Arial"/>
        <a:ea typeface="Arial Unicode MS"/>
        <a:cs typeface="Arial Unicode M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0" i="0" u="none" strike="noStrike" cap="none" normalizeH="0" baseline="0">
            <a:ln>
              <a:noFill/>
            </a:ln>
            <a:solidFill>
              <a:schemeClr val="tx1"/>
            </a:solidFill>
            <a:effectLst/>
            <a:latin typeface="Arial" pitchFamily="-109" charset="0"/>
            <a:ea typeface="Arial Unicode MS" pitchFamily="-109" charset="0"/>
            <a:cs typeface="Arial Unicode MS" pitchFamily="-109"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100" b="0" i="0" u="none" strike="noStrike" cap="none" normalizeH="0" baseline="0">
            <a:ln>
              <a:noFill/>
            </a:ln>
            <a:solidFill>
              <a:schemeClr val="tx1"/>
            </a:solidFill>
            <a:effectLst/>
            <a:latin typeface="Arial" pitchFamily="-109" charset="0"/>
            <a:ea typeface="Arial Unicode MS" pitchFamily="-109" charset="0"/>
            <a:cs typeface="Arial Unicode MS" pitchFamily="-109" charset="0"/>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96979C"/>
        </a:dk1>
        <a:lt1>
          <a:srgbClr val="FFFFFF"/>
        </a:lt1>
        <a:dk2>
          <a:srgbClr val="000000"/>
        </a:dk2>
        <a:lt2>
          <a:srgbClr val="404040"/>
        </a:lt2>
        <a:accent1>
          <a:srgbClr val="E7181C"/>
        </a:accent1>
        <a:accent2>
          <a:srgbClr val="D59E36"/>
        </a:accent2>
        <a:accent3>
          <a:srgbClr val="FFFFFF"/>
        </a:accent3>
        <a:accent4>
          <a:srgbClr val="7F8085"/>
        </a:accent4>
        <a:accent5>
          <a:srgbClr val="F1ABAB"/>
        </a:accent5>
        <a:accent6>
          <a:srgbClr val="C18F30"/>
        </a:accent6>
        <a:hlink>
          <a:srgbClr val="F3DE16"/>
        </a:hlink>
        <a:folHlink>
          <a:srgbClr val="179A37"/>
        </a:folHlink>
      </a:clrScheme>
      <a:clrMap bg1="lt1" tx1="dk1" bg2="lt2" tx2="dk2" accent1="accent1" accent2="accent2" accent3="accent3" accent4="accent4" accent5="accent5" accent6="accent6" hlink="hlink" folHlink="folHlink"/>
    </a:extraClrScheme>
    <a:extraClrScheme>
      <a:clrScheme name="Office Theme 14">
        <a:dk1>
          <a:srgbClr val="96979C"/>
        </a:dk1>
        <a:lt1>
          <a:srgbClr val="FFFFFF"/>
        </a:lt1>
        <a:dk2>
          <a:srgbClr val="000000"/>
        </a:dk2>
        <a:lt2>
          <a:srgbClr val="404040"/>
        </a:lt2>
        <a:accent1>
          <a:srgbClr val="CD3529"/>
        </a:accent1>
        <a:accent2>
          <a:srgbClr val="D59E36"/>
        </a:accent2>
        <a:accent3>
          <a:srgbClr val="FFFFFF"/>
        </a:accent3>
        <a:accent4>
          <a:srgbClr val="7F8085"/>
        </a:accent4>
        <a:accent5>
          <a:srgbClr val="E3AEAC"/>
        </a:accent5>
        <a:accent6>
          <a:srgbClr val="C18F30"/>
        </a:accent6>
        <a:hlink>
          <a:srgbClr val="F3DE16"/>
        </a:hlink>
        <a:folHlink>
          <a:srgbClr val="179A37"/>
        </a:folHlink>
      </a:clrScheme>
      <a:clrMap bg1="lt1" tx1="dk1" bg2="lt2" tx2="dk2" accent1="accent1" accent2="accent2" accent3="accent3" accent4="accent4" accent5="accent5" accent6="accent6" hlink="hlink" folHlink="folHlink"/>
    </a:extraClrScheme>
    <a:extraClrScheme>
      <a:clrScheme name="Office Theme 15">
        <a:dk1>
          <a:srgbClr val="96979C"/>
        </a:dk1>
        <a:lt1>
          <a:srgbClr val="FFFFFF"/>
        </a:lt1>
        <a:dk2>
          <a:srgbClr val="000000"/>
        </a:dk2>
        <a:lt2>
          <a:srgbClr val="404040"/>
        </a:lt2>
        <a:accent1>
          <a:srgbClr val="EE3324"/>
        </a:accent1>
        <a:accent2>
          <a:srgbClr val="D59E36"/>
        </a:accent2>
        <a:accent3>
          <a:srgbClr val="FFFFFF"/>
        </a:accent3>
        <a:accent4>
          <a:srgbClr val="7F8085"/>
        </a:accent4>
        <a:accent5>
          <a:srgbClr val="F5ADAC"/>
        </a:accent5>
        <a:accent6>
          <a:srgbClr val="C18F30"/>
        </a:accent6>
        <a:hlink>
          <a:srgbClr val="F3DE16"/>
        </a:hlink>
        <a:folHlink>
          <a:srgbClr val="179A37"/>
        </a:folHlink>
      </a:clrScheme>
      <a:clrMap bg1="lt1" tx1="dk1" bg2="lt2" tx2="dk2" accent1="accent1" accent2="accent2" accent3="accent3" accent4="accent4" accent5="accent5" accent6="accent6" hlink="hlink" folHlink="folHlink"/>
    </a:extraClrScheme>
    <a:extraClrScheme>
      <a:clrScheme name="Office Theme 16">
        <a:dk1>
          <a:srgbClr val="96979C"/>
        </a:dk1>
        <a:lt1>
          <a:srgbClr val="FFFFFF"/>
        </a:lt1>
        <a:dk2>
          <a:srgbClr val="000000"/>
        </a:dk2>
        <a:lt2>
          <a:srgbClr val="414142"/>
        </a:lt2>
        <a:accent1>
          <a:srgbClr val="EE3324"/>
        </a:accent1>
        <a:accent2>
          <a:srgbClr val="D59E36"/>
        </a:accent2>
        <a:accent3>
          <a:srgbClr val="FFFFFF"/>
        </a:accent3>
        <a:accent4>
          <a:srgbClr val="7F8085"/>
        </a:accent4>
        <a:accent5>
          <a:srgbClr val="F5ADAC"/>
        </a:accent5>
        <a:accent6>
          <a:srgbClr val="C18F30"/>
        </a:accent6>
        <a:hlink>
          <a:srgbClr val="F3DE16"/>
        </a:hlink>
        <a:folHlink>
          <a:srgbClr val="179A37"/>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2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3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4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5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6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7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8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9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0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11_Office Theme">
  <a:themeElements>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PPC">
    <a:dk1>
      <a:srgbClr val="001F5F"/>
    </a:dk1>
    <a:lt1>
      <a:srgbClr val="FFFFFF"/>
    </a:lt1>
    <a:dk2>
      <a:srgbClr val="D5E2FF"/>
    </a:dk2>
    <a:lt2>
      <a:srgbClr val="D9D9D9"/>
    </a:lt2>
    <a:accent1>
      <a:srgbClr val="001F5F"/>
    </a:accent1>
    <a:accent2>
      <a:srgbClr val="9DB9FB"/>
    </a:accent2>
    <a:accent3>
      <a:srgbClr val="D76406"/>
    </a:accent3>
    <a:accent4>
      <a:srgbClr val="973200"/>
    </a:accent4>
    <a:accent5>
      <a:srgbClr val="EFEF00"/>
    </a:accent5>
    <a:accent6>
      <a:srgbClr val="00EF00"/>
    </a:accent6>
    <a:hlink>
      <a:srgbClr val="D76406"/>
    </a:hlink>
    <a:folHlink>
      <a:srgbClr val="973200"/>
    </a:folHlink>
  </a:clrScheme>
  <a:fontScheme name="ICG Fonts">
    <a:majorFont>
      <a:latin typeface="Arial"/>
      <a:ea typeface="STKaiti"/>
      <a:cs typeface=""/>
      <a:font script="Jpan" typeface="MS PGothic"/>
    </a:majorFont>
    <a:minorFont>
      <a:latin typeface="Arial"/>
      <a:ea typeface="STKaiti"/>
      <a:cs typeface=""/>
      <a:font script="Jpan" typeface="MS PGothic"/>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2136</TotalTime>
  <Words>691</Words>
  <Application>Microsoft Office PowerPoint</Application>
  <PresentationFormat>Προβολή στην οθόνη (4:3)</PresentationFormat>
  <Paragraphs>210</Paragraphs>
  <Slides>11</Slides>
  <Notes>7</Notes>
  <HiddenSlides>0</HiddenSlides>
  <MMClips>0</MMClips>
  <ScaleCrop>false</ScaleCrop>
  <HeadingPairs>
    <vt:vector size="8" baseType="variant">
      <vt:variant>
        <vt:lpstr>Γραμματοσειρές που χρησιμοποιούνται</vt:lpstr>
      </vt:variant>
      <vt:variant>
        <vt:i4>11</vt:i4>
      </vt:variant>
      <vt:variant>
        <vt:lpstr>Θέμα</vt:lpstr>
      </vt:variant>
      <vt:variant>
        <vt:i4>14</vt:i4>
      </vt:variant>
      <vt:variant>
        <vt:lpstr>Ενσωματωμένοι διακομιστές OLE</vt:lpstr>
      </vt:variant>
      <vt:variant>
        <vt:i4>1</vt:i4>
      </vt:variant>
      <vt:variant>
        <vt:lpstr>Τίτλοι διαφανειών</vt:lpstr>
      </vt:variant>
      <vt:variant>
        <vt:i4>11</vt:i4>
      </vt:variant>
    </vt:vector>
  </HeadingPairs>
  <TitlesOfParts>
    <vt:vector size="37" baseType="lpstr">
      <vt:lpstr>Arial Unicode MS</vt:lpstr>
      <vt:lpstr>Arial</vt:lpstr>
      <vt:lpstr>Arial Black</vt:lpstr>
      <vt:lpstr>BatangChe</vt:lpstr>
      <vt:lpstr>Calibri</vt:lpstr>
      <vt:lpstr>CMCatalogue-Light</vt:lpstr>
      <vt:lpstr>STKaiti</vt:lpstr>
      <vt:lpstr>Symbol</vt:lpstr>
      <vt:lpstr>Times New Roman</vt:lpstr>
      <vt:lpstr>Verdana</vt:lpstr>
      <vt:lpstr>Wingdings</vt:lpstr>
      <vt:lpstr>Group PowerPoint TemplateOgilvy</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think-cell Slide</vt:lpstr>
      <vt:lpstr>Παρουσίαση του PowerPoint</vt:lpstr>
      <vt:lpstr>Παρουσίαση του PowerPoint</vt:lpstr>
      <vt:lpstr>PPC Group Structure</vt:lpstr>
      <vt:lpstr>PPC’s installed generation capacity</vt:lpstr>
      <vt:lpstr>Generation (2018, interconnected system)</vt:lpstr>
      <vt:lpstr>Παρουσίαση του PowerPoint</vt:lpstr>
      <vt:lpstr>Παρουσίαση του PowerPoint</vt:lpstr>
      <vt:lpstr>Παρουσίαση του PowerPoint</vt:lpstr>
      <vt:lpstr>Παρουσίαση του PowerPoint</vt:lpstr>
      <vt:lpstr>Παρουσίαση του PowerPoint</vt:lpstr>
      <vt:lpstr>Παρουσίαση του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r Title</dc:title>
  <dc:creator>macuser macuser</dc:creator>
  <cp:lastModifiedBy>Konstantinos Chronis</cp:lastModifiedBy>
  <cp:revision>724</cp:revision>
  <cp:lastPrinted>2019-02-19T08:17:25Z</cp:lastPrinted>
  <dcterms:created xsi:type="dcterms:W3CDTF">2011-11-22T11:11:10Z</dcterms:created>
  <dcterms:modified xsi:type="dcterms:W3CDTF">2019-05-17T04:51:33Z</dcterms:modified>
</cp:coreProperties>
</file>